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4"/>
    <p:sldMasterId id="2147483791" r:id="rId5"/>
  </p:sldMasterIdLst>
  <p:notesMasterIdLst>
    <p:notesMasterId r:id="rId21"/>
  </p:notesMasterIdLst>
  <p:sldIdLst>
    <p:sldId id="20836" r:id="rId6"/>
    <p:sldId id="20832" r:id="rId7"/>
    <p:sldId id="20837" r:id="rId8"/>
    <p:sldId id="20838" r:id="rId9"/>
    <p:sldId id="20840" r:id="rId10"/>
    <p:sldId id="20843" r:id="rId11"/>
    <p:sldId id="20839" r:id="rId12"/>
    <p:sldId id="20833" r:id="rId13"/>
    <p:sldId id="20835" r:id="rId14"/>
    <p:sldId id="20851" r:id="rId15"/>
    <p:sldId id="20850" r:id="rId16"/>
    <p:sldId id="20844" r:id="rId17"/>
    <p:sldId id="20847" r:id="rId18"/>
    <p:sldId id="20846" r:id="rId19"/>
    <p:sldId id="20848" r:id="rId2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13CC531-249E-4646-AE38-7802416DEDAC}">
          <p14:sldIdLst>
            <p14:sldId id="20836"/>
            <p14:sldId id="20832"/>
            <p14:sldId id="20837"/>
            <p14:sldId id="20838"/>
            <p14:sldId id="20840"/>
            <p14:sldId id="20843"/>
            <p14:sldId id="20839"/>
            <p14:sldId id="20833"/>
            <p14:sldId id="20835"/>
            <p14:sldId id="20851"/>
            <p14:sldId id="20850"/>
            <p14:sldId id="20844"/>
            <p14:sldId id="20847"/>
            <p14:sldId id="20846"/>
            <p14:sldId id="2084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nturione, Vittorio" initials="CV" lastIdx="1" clrIdx="0">
    <p:extLst>
      <p:ext uri="{19B8F6BF-5375-455C-9EA6-DF929625EA0E}">
        <p15:presenceInfo xmlns:p15="http://schemas.microsoft.com/office/powerpoint/2012/main" userId="S::vittorio.centurione@accenture.com::4ea74cf0-023b-4086-96b5-c11f6770f13d" providerId="AD"/>
      </p:ext>
    </p:extLst>
  </p:cmAuthor>
  <p:cmAuthor id="2" name="Hernalsteens Floriane" initials="HF" lastIdx="1" clrIdx="1">
    <p:extLst>
      <p:ext uri="{19B8F6BF-5375-455C-9EA6-DF929625EA0E}">
        <p15:presenceInfo xmlns:p15="http://schemas.microsoft.com/office/powerpoint/2012/main" userId="S::Floriane.Hernalsteens@europ-assistance.be::e4ac8646-f127-43ae-97bc-bc6c5c05b4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52127"/>
    <a:srgbClr val="EE7F6B"/>
    <a:srgbClr val="262626"/>
    <a:srgbClr val="18191A"/>
    <a:srgbClr val="A81437"/>
    <a:srgbClr val="FEFBFA"/>
    <a:srgbClr val="FCF3F3"/>
    <a:srgbClr val="F0F0F1"/>
    <a:srgbClr val="FDEF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C80F40-9485-4335-83C6-9B272BE180E2}" v="34" dt="2020-11-06T14:11:36.2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333" autoAdjust="0"/>
  </p:normalViewPr>
  <p:slideViewPr>
    <p:cSldViewPr snapToGrid="0">
      <p:cViewPr varScale="1">
        <p:scale>
          <a:sx n="103" d="100"/>
          <a:sy n="103" d="100"/>
        </p:scale>
        <p:origin x="79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nturione, Vittorio" userId="4ea74cf0-023b-4086-96b5-c11f6770f13d" providerId="ADAL" clId="{E8C80F40-9485-4335-83C6-9B272BE180E2}"/>
    <pc:docChg chg="undo custSel addSld delSld modSld sldOrd delMainMaster addSection delSection modSection">
      <pc:chgData name="Centurione, Vittorio" userId="4ea74cf0-023b-4086-96b5-c11f6770f13d" providerId="ADAL" clId="{E8C80F40-9485-4335-83C6-9B272BE180E2}" dt="2020-11-06T14:14:06.082" v="621" actId="20577"/>
      <pc:docMkLst>
        <pc:docMk/>
      </pc:docMkLst>
      <pc:sldChg chg="modSp">
        <pc:chgData name="Centurione, Vittorio" userId="4ea74cf0-023b-4086-96b5-c11f6770f13d" providerId="ADAL" clId="{E8C80F40-9485-4335-83C6-9B272BE180E2}" dt="2020-11-05T16:27:40.806" v="45" actId="13926"/>
        <pc:sldMkLst>
          <pc:docMk/>
          <pc:sldMk cId="3705976089" sldId="256"/>
        </pc:sldMkLst>
        <pc:spChg chg="mod">
          <ac:chgData name="Centurione, Vittorio" userId="4ea74cf0-023b-4086-96b5-c11f6770f13d" providerId="ADAL" clId="{E8C80F40-9485-4335-83C6-9B272BE180E2}" dt="2020-11-05T16:27:24.808" v="40" actId="20577"/>
          <ac:spMkLst>
            <pc:docMk/>
            <pc:sldMk cId="3705976089" sldId="256"/>
            <ac:spMk id="4" creationId="{2676E6B7-FAA0-4F5E-9593-124CBC5AD5CA}"/>
          </ac:spMkLst>
        </pc:spChg>
        <pc:spChg chg="mod">
          <ac:chgData name="Centurione, Vittorio" userId="4ea74cf0-023b-4086-96b5-c11f6770f13d" providerId="ADAL" clId="{E8C80F40-9485-4335-83C6-9B272BE180E2}" dt="2020-11-05T16:27:40.806" v="45" actId="13926"/>
          <ac:spMkLst>
            <pc:docMk/>
            <pc:sldMk cId="3705976089" sldId="256"/>
            <ac:spMk id="11" creationId="{00000000-0000-0000-0000-000000000000}"/>
          </ac:spMkLst>
        </pc:spChg>
      </pc:sldChg>
      <pc:sldChg chg="ord">
        <pc:chgData name="Centurione, Vittorio" userId="4ea74cf0-023b-4086-96b5-c11f6770f13d" providerId="ADAL" clId="{E8C80F40-9485-4335-83C6-9B272BE180E2}" dt="2020-11-05T16:28:27.345" v="148"/>
        <pc:sldMkLst>
          <pc:docMk/>
          <pc:sldMk cId="2742870053" sldId="259"/>
        </pc:sldMkLst>
      </pc:sldChg>
      <pc:sldChg chg="del">
        <pc:chgData name="Centurione, Vittorio" userId="4ea74cf0-023b-4086-96b5-c11f6770f13d" providerId="ADAL" clId="{E8C80F40-9485-4335-83C6-9B272BE180E2}" dt="2020-11-05T16:28:24.013" v="136" actId="2696"/>
        <pc:sldMkLst>
          <pc:docMk/>
          <pc:sldMk cId="1848555285" sldId="7822"/>
        </pc:sldMkLst>
      </pc:sldChg>
      <pc:sldChg chg="del">
        <pc:chgData name="Centurione, Vittorio" userId="4ea74cf0-023b-4086-96b5-c11f6770f13d" providerId="ADAL" clId="{E8C80F40-9485-4335-83C6-9B272BE180E2}" dt="2020-11-05T16:28:23.209" v="96" actId="2696"/>
        <pc:sldMkLst>
          <pc:docMk/>
          <pc:sldMk cId="2712489256" sldId="7831"/>
        </pc:sldMkLst>
      </pc:sldChg>
      <pc:sldChg chg="del">
        <pc:chgData name="Centurione, Vittorio" userId="4ea74cf0-023b-4086-96b5-c11f6770f13d" providerId="ADAL" clId="{E8C80F40-9485-4335-83C6-9B272BE180E2}" dt="2020-11-05T16:28:23.266" v="97" actId="2696"/>
        <pc:sldMkLst>
          <pc:docMk/>
          <pc:sldMk cId="1943737130" sldId="20577"/>
        </pc:sldMkLst>
      </pc:sldChg>
      <pc:sldChg chg="del">
        <pc:chgData name="Centurione, Vittorio" userId="4ea74cf0-023b-4086-96b5-c11f6770f13d" providerId="ADAL" clId="{E8C80F40-9485-4335-83C6-9B272BE180E2}" dt="2020-11-05T16:28:23.330" v="98" actId="2696"/>
        <pc:sldMkLst>
          <pc:docMk/>
          <pc:sldMk cId="3464487652" sldId="20578"/>
        </pc:sldMkLst>
      </pc:sldChg>
      <pc:sldChg chg="del">
        <pc:chgData name="Centurione, Vittorio" userId="4ea74cf0-023b-4086-96b5-c11f6770f13d" providerId="ADAL" clId="{E8C80F40-9485-4335-83C6-9B272BE180E2}" dt="2020-11-05T16:28:23.389" v="99" actId="2696"/>
        <pc:sldMkLst>
          <pc:docMk/>
          <pc:sldMk cId="754740099" sldId="20579"/>
        </pc:sldMkLst>
      </pc:sldChg>
      <pc:sldChg chg="del">
        <pc:chgData name="Centurione, Vittorio" userId="4ea74cf0-023b-4086-96b5-c11f6770f13d" providerId="ADAL" clId="{E8C80F40-9485-4335-83C6-9B272BE180E2}" dt="2020-11-05T16:28:23.444" v="100" actId="2696"/>
        <pc:sldMkLst>
          <pc:docMk/>
          <pc:sldMk cId="3852321794" sldId="20580"/>
        </pc:sldMkLst>
      </pc:sldChg>
      <pc:sldChg chg="del">
        <pc:chgData name="Centurione, Vittorio" userId="4ea74cf0-023b-4086-96b5-c11f6770f13d" providerId="ADAL" clId="{E8C80F40-9485-4335-83C6-9B272BE180E2}" dt="2020-11-05T16:28:22.781" v="58" actId="2696"/>
        <pc:sldMkLst>
          <pc:docMk/>
          <pc:sldMk cId="714115698" sldId="20764"/>
        </pc:sldMkLst>
      </pc:sldChg>
      <pc:sldChg chg="del">
        <pc:chgData name="Centurione, Vittorio" userId="4ea74cf0-023b-4086-96b5-c11f6770f13d" providerId="ADAL" clId="{E8C80F40-9485-4335-83C6-9B272BE180E2}" dt="2020-11-05T16:28:23.484" v="101" actId="2696"/>
        <pc:sldMkLst>
          <pc:docMk/>
          <pc:sldMk cId="1046530424" sldId="20767"/>
        </pc:sldMkLst>
      </pc:sldChg>
      <pc:sldChg chg="del">
        <pc:chgData name="Centurione, Vittorio" userId="4ea74cf0-023b-4086-96b5-c11f6770f13d" providerId="ADAL" clId="{E8C80F40-9485-4335-83C6-9B272BE180E2}" dt="2020-11-05T16:28:24.049" v="137" actId="2696"/>
        <pc:sldMkLst>
          <pc:docMk/>
          <pc:sldMk cId="312909940" sldId="20775"/>
        </pc:sldMkLst>
      </pc:sldChg>
      <pc:sldChg chg="del">
        <pc:chgData name="Centurione, Vittorio" userId="4ea74cf0-023b-4086-96b5-c11f6770f13d" providerId="ADAL" clId="{E8C80F40-9485-4335-83C6-9B272BE180E2}" dt="2020-11-05T16:28:24.096" v="138" actId="2696"/>
        <pc:sldMkLst>
          <pc:docMk/>
          <pc:sldMk cId="319203071" sldId="20776"/>
        </pc:sldMkLst>
      </pc:sldChg>
      <pc:sldChg chg="del">
        <pc:chgData name="Centurione, Vittorio" userId="4ea74cf0-023b-4086-96b5-c11f6770f13d" providerId="ADAL" clId="{E8C80F40-9485-4335-83C6-9B272BE180E2}" dt="2020-11-05T16:28:24.163" v="139" actId="2696"/>
        <pc:sldMkLst>
          <pc:docMk/>
          <pc:sldMk cId="426621002" sldId="20778"/>
        </pc:sldMkLst>
      </pc:sldChg>
      <pc:sldChg chg="del">
        <pc:chgData name="Centurione, Vittorio" userId="4ea74cf0-023b-4086-96b5-c11f6770f13d" providerId="ADAL" clId="{E8C80F40-9485-4335-83C6-9B272BE180E2}" dt="2020-11-05T16:28:24.211" v="140" actId="2696"/>
        <pc:sldMkLst>
          <pc:docMk/>
          <pc:sldMk cId="523606152" sldId="20779"/>
        </pc:sldMkLst>
      </pc:sldChg>
      <pc:sldChg chg="del">
        <pc:chgData name="Centurione, Vittorio" userId="4ea74cf0-023b-4086-96b5-c11f6770f13d" providerId="ADAL" clId="{E8C80F40-9485-4335-83C6-9B272BE180E2}" dt="2020-11-05T16:28:24.296" v="142" actId="2696"/>
        <pc:sldMkLst>
          <pc:docMk/>
          <pc:sldMk cId="2033473919" sldId="20780"/>
        </pc:sldMkLst>
      </pc:sldChg>
      <pc:sldChg chg="del">
        <pc:chgData name="Centurione, Vittorio" userId="4ea74cf0-023b-4086-96b5-c11f6770f13d" providerId="ADAL" clId="{E8C80F40-9485-4335-83C6-9B272BE180E2}" dt="2020-11-05T16:28:24.348" v="143" actId="2696"/>
        <pc:sldMkLst>
          <pc:docMk/>
          <pc:sldMk cId="3001080419" sldId="20781"/>
        </pc:sldMkLst>
      </pc:sldChg>
      <pc:sldChg chg="del">
        <pc:chgData name="Centurione, Vittorio" userId="4ea74cf0-023b-4086-96b5-c11f6770f13d" providerId="ADAL" clId="{E8C80F40-9485-4335-83C6-9B272BE180E2}" dt="2020-11-05T16:28:24.383" v="144" actId="2696"/>
        <pc:sldMkLst>
          <pc:docMk/>
          <pc:sldMk cId="2511185278" sldId="20782"/>
        </pc:sldMkLst>
      </pc:sldChg>
      <pc:sldChg chg="del">
        <pc:chgData name="Centurione, Vittorio" userId="4ea74cf0-023b-4086-96b5-c11f6770f13d" providerId="ADAL" clId="{E8C80F40-9485-4335-83C6-9B272BE180E2}" dt="2020-11-05T16:28:22.797" v="59" actId="2696"/>
        <pc:sldMkLst>
          <pc:docMk/>
          <pc:sldMk cId="4042765015" sldId="20784"/>
        </pc:sldMkLst>
      </pc:sldChg>
      <pc:sldChg chg="del">
        <pc:chgData name="Centurione, Vittorio" userId="4ea74cf0-023b-4086-96b5-c11f6770f13d" providerId="ADAL" clId="{E8C80F40-9485-4335-83C6-9B272BE180E2}" dt="2020-11-05T16:28:23.498" v="102" actId="2696"/>
        <pc:sldMkLst>
          <pc:docMk/>
          <pc:sldMk cId="346661709" sldId="20785"/>
        </pc:sldMkLst>
      </pc:sldChg>
      <pc:sldChg chg="del">
        <pc:chgData name="Centurione, Vittorio" userId="4ea74cf0-023b-4086-96b5-c11f6770f13d" providerId="ADAL" clId="{E8C80F40-9485-4335-83C6-9B272BE180E2}" dt="2020-11-05T16:28:23.513" v="103" actId="2696"/>
        <pc:sldMkLst>
          <pc:docMk/>
          <pc:sldMk cId="180604770" sldId="20786"/>
        </pc:sldMkLst>
      </pc:sldChg>
      <pc:sldChg chg="del">
        <pc:chgData name="Centurione, Vittorio" userId="4ea74cf0-023b-4086-96b5-c11f6770f13d" providerId="ADAL" clId="{E8C80F40-9485-4335-83C6-9B272BE180E2}" dt="2020-11-05T16:28:23.530" v="104" actId="2696"/>
        <pc:sldMkLst>
          <pc:docMk/>
          <pc:sldMk cId="407860808" sldId="20787"/>
        </pc:sldMkLst>
      </pc:sldChg>
      <pc:sldChg chg="del">
        <pc:chgData name="Centurione, Vittorio" userId="4ea74cf0-023b-4086-96b5-c11f6770f13d" providerId="ADAL" clId="{E8C80F40-9485-4335-83C6-9B272BE180E2}" dt="2020-11-05T16:28:23.543" v="105" actId="2696"/>
        <pc:sldMkLst>
          <pc:docMk/>
          <pc:sldMk cId="3281657535" sldId="20788"/>
        </pc:sldMkLst>
      </pc:sldChg>
      <pc:sldChg chg="del">
        <pc:chgData name="Centurione, Vittorio" userId="4ea74cf0-023b-4086-96b5-c11f6770f13d" providerId="ADAL" clId="{E8C80F40-9485-4335-83C6-9B272BE180E2}" dt="2020-11-05T16:28:23.556" v="106" actId="2696"/>
        <pc:sldMkLst>
          <pc:docMk/>
          <pc:sldMk cId="2618315459" sldId="20789"/>
        </pc:sldMkLst>
      </pc:sldChg>
      <pc:sldChg chg="del">
        <pc:chgData name="Centurione, Vittorio" userId="4ea74cf0-023b-4086-96b5-c11f6770f13d" providerId="ADAL" clId="{E8C80F40-9485-4335-83C6-9B272BE180E2}" dt="2020-11-05T16:28:23.568" v="107" actId="2696"/>
        <pc:sldMkLst>
          <pc:docMk/>
          <pc:sldMk cId="3279101113" sldId="20790"/>
        </pc:sldMkLst>
      </pc:sldChg>
      <pc:sldChg chg="del">
        <pc:chgData name="Centurione, Vittorio" userId="4ea74cf0-023b-4086-96b5-c11f6770f13d" providerId="ADAL" clId="{E8C80F40-9485-4335-83C6-9B272BE180E2}" dt="2020-11-05T16:28:23.586" v="108" actId="2696"/>
        <pc:sldMkLst>
          <pc:docMk/>
          <pc:sldMk cId="4115118979" sldId="20791"/>
        </pc:sldMkLst>
      </pc:sldChg>
      <pc:sldChg chg="del">
        <pc:chgData name="Centurione, Vittorio" userId="4ea74cf0-023b-4086-96b5-c11f6770f13d" providerId="ADAL" clId="{E8C80F40-9485-4335-83C6-9B272BE180E2}" dt="2020-11-05T16:28:23.599" v="109" actId="2696"/>
        <pc:sldMkLst>
          <pc:docMk/>
          <pc:sldMk cId="4059283195" sldId="20792"/>
        </pc:sldMkLst>
      </pc:sldChg>
      <pc:sldChg chg="del">
        <pc:chgData name="Centurione, Vittorio" userId="4ea74cf0-023b-4086-96b5-c11f6770f13d" providerId="ADAL" clId="{E8C80F40-9485-4335-83C6-9B272BE180E2}" dt="2020-11-05T16:28:23.616" v="110" actId="2696"/>
        <pc:sldMkLst>
          <pc:docMk/>
          <pc:sldMk cId="3219271922" sldId="20793"/>
        </pc:sldMkLst>
      </pc:sldChg>
      <pc:sldChg chg="del">
        <pc:chgData name="Centurione, Vittorio" userId="4ea74cf0-023b-4086-96b5-c11f6770f13d" providerId="ADAL" clId="{E8C80F40-9485-4335-83C6-9B272BE180E2}" dt="2020-11-05T16:28:23.630" v="111" actId="2696"/>
        <pc:sldMkLst>
          <pc:docMk/>
          <pc:sldMk cId="2473567123" sldId="20794"/>
        </pc:sldMkLst>
      </pc:sldChg>
      <pc:sldChg chg="del">
        <pc:chgData name="Centurione, Vittorio" userId="4ea74cf0-023b-4086-96b5-c11f6770f13d" providerId="ADAL" clId="{E8C80F40-9485-4335-83C6-9B272BE180E2}" dt="2020-11-05T16:28:23.646" v="112" actId="2696"/>
        <pc:sldMkLst>
          <pc:docMk/>
          <pc:sldMk cId="768408681" sldId="20795"/>
        </pc:sldMkLst>
      </pc:sldChg>
      <pc:sldChg chg="del">
        <pc:chgData name="Centurione, Vittorio" userId="4ea74cf0-023b-4086-96b5-c11f6770f13d" providerId="ADAL" clId="{E8C80F40-9485-4335-83C6-9B272BE180E2}" dt="2020-11-05T16:28:23.663" v="113" actId="2696"/>
        <pc:sldMkLst>
          <pc:docMk/>
          <pc:sldMk cId="2033369761" sldId="20796"/>
        </pc:sldMkLst>
      </pc:sldChg>
      <pc:sldChg chg="del">
        <pc:chgData name="Centurione, Vittorio" userId="4ea74cf0-023b-4086-96b5-c11f6770f13d" providerId="ADAL" clId="{E8C80F40-9485-4335-83C6-9B272BE180E2}" dt="2020-11-05T16:28:23.676" v="114" actId="2696"/>
        <pc:sldMkLst>
          <pc:docMk/>
          <pc:sldMk cId="3746267678" sldId="20797"/>
        </pc:sldMkLst>
      </pc:sldChg>
      <pc:sldChg chg="del">
        <pc:chgData name="Centurione, Vittorio" userId="4ea74cf0-023b-4086-96b5-c11f6770f13d" providerId="ADAL" clId="{E8C80F40-9485-4335-83C6-9B272BE180E2}" dt="2020-11-05T16:28:23.687" v="115" actId="2696"/>
        <pc:sldMkLst>
          <pc:docMk/>
          <pc:sldMk cId="1213660634" sldId="20798"/>
        </pc:sldMkLst>
      </pc:sldChg>
      <pc:sldChg chg="del">
        <pc:chgData name="Centurione, Vittorio" userId="4ea74cf0-023b-4086-96b5-c11f6770f13d" providerId="ADAL" clId="{E8C80F40-9485-4335-83C6-9B272BE180E2}" dt="2020-11-05T16:28:23.703" v="116" actId="2696"/>
        <pc:sldMkLst>
          <pc:docMk/>
          <pc:sldMk cId="4163061097" sldId="20799"/>
        </pc:sldMkLst>
      </pc:sldChg>
      <pc:sldChg chg="del">
        <pc:chgData name="Centurione, Vittorio" userId="4ea74cf0-023b-4086-96b5-c11f6770f13d" providerId="ADAL" clId="{E8C80F40-9485-4335-83C6-9B272BE180E2}" dt="2020-11-05T16:28:23.716" v="117" actId="2696"/>
        <pc:sldMkLst>
          <pc:docMk/>
          <pc:sldMk cId="340862737" sldId="20800"/>
        </pc:sldMkLst>
      </pc:sldChg>
      <pc:sldChg chg="del">
        <pc:chgData name="Centurione, Vittorio" userId="4ea74cf0-023b-4086-96b5-c11f6770f13d" providerId="ADAL" clId="{E8C80F40-9485-4335-83C6-9B272BE180E2}" dt="2020-11-05T16:28:23.734" v="118" actId="2696"/>
        <pc:sldMkLst>
          <pc:docMk/>
          <pc:sldMk cId="2239249798" sldId="20801"/>
        </pc:sldMkLst>
      </pc:sldChg>
      <pc:sldChg chg="del">
        <pc:chgData name="Centurione, Vittorio" userId="4ea74cf0-023b-4086-96b5-c11f6770f13d" providerId="ADAL" clId="{E8C80F40-9485-4335-83C6-9B272BE180E2}" dt="2020-11-05T16:28:23.748" v="119" actId="2696"/>
        <pc:sldMkLst>
          <pc:docMk/>
          <pc:sldMk cId="2463339342" sldId="20802"/>
        </pc:sldMkLst>
      </pc:sldChg>
      <pc:sldChg chg="del">
        <pc:chgData name="Centurione, Vittorio" userId="4ea74cf0-023b-4086-96b5-c11f6770f13d" providerId="ADAL" clId="{E8C80F40-9485-4335-83C6-9B272BE180E2}" dt="2020-11-05T16:28:23.765" v="120" actId="2696"/>
        <pc:sldMkLst>
          <pc:docMk/>
          <pc:sldMk cId="3051961634" sldId="20803"/>
        </pc:sldMkLst>
      </pc:sldChg>
      <pc:sldChg chg="del">
        <pc:chgData name="Centurione, Vittorio" userId="4ea74cf0-023b-4086-96b5-c11f6770f13d" providerId="ADAL" clId="{E8C80F40-9485-4335-83C6-9B272BE180E2}" dt="2020-11-05T16:28:23.783" v="121" actId="2696"/>
        <pc:sldMkLst>
          <pc:docMk/>
          <pc:sldMk cId="701334003" sldId="20804"/>
        </pc:sldMkLst>
      </pc:sldChg>
      <pc:sldChg chg="del">
        <pc:chgData name="Centurione, Vittorio" userId="4ea74cf0-023b-4086-96b5-c11f6770f13d" providerId="ADAL" clId="{E8C80F40-9485-4335-83C6-9B272BE180E2}" dt="2020-11-05T16:28:23.796" v="122" actId="2696"/>
        <pc:sldMkLst>
          <pc:docMk/>
          <pc:sldMk cId="747721939" sldId="20805"/>
        </pc:sldMkLst>
      </pc:sldChg>
      <pc:sldChg chg="del">
        <pc:chgData name="Centurione, Vittorio" userId="4ea74cf0-023b-4086-96b5-c11f6770f13d" providerId="ADAL" clId="{E8C80F40-9485-4335-83C6-9B272BE180E2}" dt="2020-11-05T16:28:23.813" v="123" actId="2696"/>
        <pc:sldMkLst>
          <pc:docMk/>
          <pc:sldMk cId="1755344133" sldId="20806"/>
        </pc:sldMkLst>
      </pc:sldChg>
      <pc:sldChg chg="del">
        <pc:chgData name="Centurione, Vittorio" userId="4ea74cf0-023b-4086-96b5-c11f6770f13d" providerId="ADAL" clId="{E8C80F40-9485-4335-83C6-9B272BE180E2}" dt="2020-11-05T16:28:23.833" v="124" actId="2696"/>
        <pc:sldMkLst>
          <pc:docMk/>
          <pc:sldMk cId="3205827976" sldId="20807"/>
        </pc:sldMkLst>
      </pc:sldChg>
      <pc:sldChg chg="del">
        <pc:chgData name="Centurione, Vittorio" userId="4ea74cf0-023b-4086-96b5-c11f6770f13d" providerId="ADAL" clId="{E8C80F40-9485-4335-83C6-9B272BE180E2}" dt="2020-11-05T16:28:23.847" v="125" actId="2696"/>
        <pc:sldMkLst>
          <pc:docMk/>
          <pc:sldMk cId="4285957934" sldId="20808"/>
        </pc:sldMkLst>
      </pc:sldChg>
      <pc:sldChg chg="del">
        <pc:chgData name="Centurione, Vittorio" userId="4ea74cf0-023b-4086-96b5-c11f6770f13d" providerId="ADAL" clId="{E8C80F40-9485-4335-83C6-9B272BE180E2}" dt="2020-11-05T16:28:23.865" v="126" actId="2696"/>
        <pc:sldMkLst>
          <pc:docMk/>
          <pc:sldMk cId="2401234013" sldId="20809"/>
        </pc:sldMkLst>
      </pc:sldChg>
      <pc:sldChg chg="del">
        <pc:chgData name="Centurione, Vittorio" userId="4ea74cf0-023b-4086-96b5-c11f6770f13d" providerId="ADAL" clId="{E8C80F40-9485-4335-83C6-9B272BE180E2}" dt="2020-11-05T16:28:23.890" v="128" actId="2696"/>
        <pc:sldMkLst>
          <pc:docMk/>
          <pc:sldMk cId="1231222697" sldId="20811"/>
        </pc:sldMkLst>
      </pc:sldChg>
      <pc:sldChg chg="del">
        <pc:chgData name="Centurione, Vittorio" userId="4ea74cf0-023b-4086-96b5-c11f6770f13d" providerId="ADAL" clId="{E8C80F40-9485-4335-83C6-9B272BE180E2}" dt="2020-11-05T16:28:23.901" v="129" actId="2696"/>
        <pc:sldMkLst>
          <pc:docMk/>
          <pc:sldMk cId="2883013317" sldId="20812"/>
        </pc:sldMkLst>
      </pc:sldChg>
      <pc:sldChg chg="del">
        <pc:chgData name="Centurione, Vittorio" userId="4ea74cf0-023b-4086-96b5-c11f6770f13d" providerId="ADAL" clId="{E8C80F40-9485-4335-83C6-9B272BE180E2}" dt="2020-11-05T16:28:23.915" v="130" actId="2696"/>
        <pc:sldMkLst>
          <pc:docMk/>
          <pc:sldMk cId="2956163640" sldId="20813"/>
        </pc:sldMkLst>
      </pc:sldChg>
      <pc:sldChg chg="del">
        <pc:chgData name="Centurione, Vittorio" userId="4ea74cf0-023b-4086-96b5-c11f6770f13d" providerId="ADAL" clId="{E8C80F40-9485-4335-83C6-9B272BE180E2}" dt="2020-11-05T16:28:23.928" v="131" actId="2696"/>
        <pc:sldMkLst>
          <pc:docMk/>
          <pc:sldMk cId="3841579941" sldId="20814"/>
        </pc:sldMkLst>
      </pc:sldChg>
      <pc:sldChg chg="del">
        <pc:chgData name="Centurione, Vittorio" userId="4ea74cf0-023b-4086-96b5-c11f6770f13d" providerId="ADAL" clId="{E8C80F40-9485-4335-83C6-9B272BE180E2}" dt="2020-11-05T16:28:23.945" v="132" actId="2696"/>
        <pc:sldMkLst>
          <pc:docMk/>
          <pc:sldMk cId="2677276028" sldId="20815"/>
        </pc:sldMkLst>
      </pc:sldChg>
      <pc:sldChg chg="del">
        <pc:chgData name="Centurione, Vittorio" userId="4ea74cf0-023b-4086-96b5-c11f6770f13d" providerId="ADAL" clId="{E8C80F40-9485-4335-83C6-9B272BE180E2}" dt="2020-11-05T16:28:23.956" v="133" actId="2696"/>
        <pc:sldMkLst>
          <pc:docMk/>
          <pc:sldMk cId="2426497990" sldId="20816"/>
        </pc:sldMkLst>
      </pc:sldChg>
      <pc:sldChg chg="del">
        <pc:chgData name="Centurione, Vittorio" userId="4ea74cf0-023b-4086-96b5-c11f6770f13d" providerId="ADAL" clId="{E8C80F40-9485-4335-83C6-9B272BE180E2}" dt="2020-11-05T16:28:23.968" v="134" actId="2696"/>
        <pc:sldMkLst>
          <pc:docMk/>
          <pc:sldMk cId="1917520033" sldId="20817"/>
        </pc:sldMkLst>
      </pc:sldChg>
      <pc:sldChg chg="del">
        <pc:chgData name="Centurione, Vittorio" userId="4ea74cf0-023b-4086-96b5-c11f6770f13d" providerId="ADAL" clId="{E8C80F40-9485-4335-83C6-9B272BE180E2}" dt="2020-11-05T16:28:23.983" v="135" actId="2696"/>
        <pc:sldMkLst>
          <pc:docMk/>
          <pc:sldMk cId="2999965296" sldId="20818"/>
        </pc:sldMkLst>
      </pc:sldChg>
      <pc:sldChg chg="del">
        <pc:chgData name="Centurione, Vittorio" userId="4ea74cf0-023b-4086-96b5-c11f6770f13d" providerId="ADAL" clId="{E8C80F40-9485-4335-83C6-9B272BE180E2}" dt="2020-11-05T16:28:22.824" v="60" actId="2696"/>
        <pc:sldMkLst>
          <pc:docMk/>
          <pc:sldMk cId="3774529116" sldId="20819"/>
        </pc:sldMkLst>
      </pc:sldChg>
      <pc:sldChg chg="del">
        <pc:chgData name="Centurione, Vittorio" userId="4ea74cf0-023b-4086-96b5-c11f6770f13d" providerId="ADAL" clId="{E8C80F40-9485-4335-83C6-9B272BE180E2}" dt="2020-11-05T16:28:22.847" v="61" actId="2696"/>
        <pc:sldMkLst>
          <pc:docMk/>
          <pc:sldMk cId="4237385927" sldId="20820"/>
        </pc:sldMkLst>
      </pc:sldChg>
      <pc:sldChg chg="del">
        <pc:chgData name="Centurione, Vittorio" userId="4ea74cf0-023b-4086-96b5-c11f6770f13d" providerId="ADAL" clId="{E8C80F40-9485-4335-83C6-9B272BE180E2}" dt="2020-11-05T16:28:22.877" v="62" actId="2696"/>
        <pc:sldMkLst>
          <pc:docMk/>
          <pc:sldMk cId="2770201942" sldId="20821"/>
        </pc:sldMkLst>
      </pc:sldChg>
      <pc:sldChg chg="del">
        <pc:chgData name="Centurione, Vittorio" userId="4ea74cf0-023b-4086-96b5-c11f6770f13d" providerId="ADAL" clId="{E8C80F40-9485-4335-83C6-9B272BE180E2}" dt="2020-11-05T16:28:22.919" v="63" actId="2696"/>
        <pc:sldMkLst>
          <pc:docMk/>
          <pc:sldMk cId="3340968511" sldId="20822"/>
        </pc:sldMkLst>
      </pc:sldChg>
      <pc:sldChg chg="del">
        <pc:chgData name="Centurione, Vittorio" userId="4ea74cf0-023b-4086-96b5-c11f6770f13d" providerId="ADAL" clId="{E8C80F40-9485-4335-83C6-9B272BE180E2}" dt="2020-11-05T16:28:22.962" v="64" actId="2696"/>
        <pc:sldMkLst>
          <pc:docMk/>
          <pc:sldMk cId="87923069" sldId="20823"/>
        </pc:sldMkLst>
      </pc:sldChg>
      <pc:sldChg chg="del">
        <pc:chgData name="Centurione, Vittorio" userId="4ea74cf0-023b-4086-96b5-c11f6770f13d" providerId="ADAL" clId="{E8C80F40-9485-4335-83C6-9B272BE180E2}" dt="2020-11-05T16:28:22.987" v="65" actId="2696"/>
        <pc:sldMkLst>
          <pc:docMk/>
          <pc:sldMk cId="3716434786" sldId="20824"/>
        </pc:sldMkLst>
      </pc:sldChg>
      <pc:sldChg chg="del">
        <pc:chgData name="Centurione, Vittorio" userId="4ea74cf0-023b-4086-96b5-c11f6770f13d" providerId="ADAL" clId="{E8C80F40-9485-4335-83C6-9B272BE180E2}" dt="2020-11-05T16:28:23.148" v="94" actId="2696"/>
        <pc:sldMkLst>
          <pc:docMk/>
          <pc:sldMk cId="367713742" sldId="20825"/>
        </pc:sldMkLst>
      </pc:sldChg>
      <pc:sldChg chg="del">
        <pc:chgData name="Centurione, Vittorio" userId="4ea74cf0-023b-4086-96b5-c11f6770f13d" providerId="ADAL" clId="{E8C80F40-9485-4335-83C6-9B272BE180E2}" dt="2020-11-05T16:28:23.168" v="95" actId="2696"/>
        <pc:sldMkLst>
          <pc:docMk/>
          <pc:sldMk cId="2138750922" sldId="20826"/>
        </pc:sldMkLst>
      </pc:sldChg>
      <pc:sldChg chg="del">
        <pc:chgData name="Centurione, Vittorio" userId="4ea74cf0-023b-4086-96b5-c11f6770f13d" providerId="ADAL" clId="{E8C80F40-9485-4335-83C6-9B272BE180E2}" dt="2020-11-05T16:28:24.439" v="147" actId="2696"/>
        <pc:sldMkLst>
          <pc:docMk/>
          <pc:sldMk cId="1357749320" sldId="20827"/>
        </pc:sldMkLst>
      </pc:sldChg>
      <pc:sldChg chg="del">
        <pc:chgData name="Centurione, Vittorio" userId="4ea74cf0-023b-4086-96b5-c11f6770f13d" providerId="ADAL" clId="{E8C80F40-9485-4335-83C6-9B272BE180E2}" dt="2020-11-05T16:28:23.879" v="127" actId="2696"/>
        <pc:sldMkLst>
          <pc:docMk/>
          <pc:sldMk cId="3885039372" sldId="20828"/>
        </pc:sldMkLst>
      </pc:sldChg>
      <pc:sldChg chg="del">
        <pc:chgData name="Centurione, Vittorio" userId="4ea74cf0-023b-4086-96b5-c11f6770f13d" providerId="ADAL" clId="{E8C80F40-9485-4335-83C6-9B272BE180E2}" dt="2020-11-05T16:28:24.410" v="145" actId="2696"/>
        <pc:sldMkLst>
          <pc:docMk/>
          <pc:sldMk cId="770097622" sldId="20829"/>
        </pc:sldMkLst>
      </pc:sldChg>
      <pc:sldChg chg="delSp modSp del">
        <pc:chgData name="Centurione, Vittorio" userId="4ea74cf0-023b-4086-96b5-c11f6770f13d" providerId="ADAL" clId="{E8C80F40-9485-4335-83C6-9B272BE180E2}" dt="2020-11-05T16:38:01.162" v="353" actId="2696"/>
        <pc:sldMkLst>
          <pc:docMk/>
          <pc:sldMk cId="2601167503" sldId="20830"/>
        </pc:sldMkLst>
        <pc:spChg chg="mod">
          <ac:chgData name="Centurione, Vittorio" userId="4ea74cf0-023b-4086-96b5-c11f6770f13d" providerId="ADAL" clId="{E8C80F40-9485-4335-83C6-9B272BE180E2}" dt="2020-11-05T16:37:04.709" v="327" actId="20577"/>
          <ac:spMkLst>
            <pc:docMk/>
            <pc:sldMk cId="2601167503" sldId="20830"/>
            <ac:spMk id="24" creationId="{B09E3917-3D86-42FA-977E-6CF5A6B665F5}"/>
          </ac:spMkLst>
        </pc:spChg>
        <pc:spChg chg="del">
          <ac:chgData name="Centurione, Vittorio" userId="4ea74cf0-023b-4086-96b5-c11f6770f13d" providerId="ADAL" clId="{E8C80F40-9485-4335-83C6-9B272BE180E2}" dt="2020-11-05T16:27:50.278" v="46" actId="478"/>
          <ac:spMkLst>
            <pc:docMk/>
            <pc:sldMk cId="2601167503" sldId="20830"/>
            <ac:spMk id="31" creationId="{BAAC2B35-E04A-4724-85F2-689A889FCC5C}"/>
          </ac:spMkLst>
        </pc:spChg>
        <pc:spChg chg="del">
          <ac:chgData name="Centurione, Vittorio" userId="4ea74cf0-023b-4086-96b5-c11f6770f13d" providerId="ADAL" clId="{E8C80F40-9485-4335-83C6-9B272BE180E2}" dt="2020-11-05T16:27:50.278" v="46" actId="478"/>
          <ac:spMkLst>
            <pc:docMk/>
            <pc:sldMk cId="2601167503" sldId="20830"/>
            <ac:spMk id="32" creationId="{64348E12-03DB-44DF-9267-CC1429065D4C}"/>
          </ac:spMkLst>
        </pc:spChg>
        <pc:spChg chg="del">
          <ac:chgData name="Centurione, Vittorio" userId="4ea74cf0-023b-4086-96b5-c11f6770f13d" providerId="ADAL" clId="{E8C80F40-9485-4335-83C6-9B272BE180E2}" dt="2020-11-05T16:27:50.278" v="46" actId="478"/>
          <ac:spMkLst>
            <pc:docMk/>
            <pc:sldMk cId="2601167503" sldId="20830"/>
            <ac:spMk id="33" creationId="{208F28BD-536B-4511-A2F7-7987AC31F3F1}"/>
          </ac:spMkLst>
        </pc:spChg>
        <pc:spChg chg="del">
          <ac:chgData name="Centurione, Vittorio" userId="4ea74cf0-023b-4086-96b5-c11f6770f13d" providerId="ADAL" clId="{E8C80F40-9485-4335-83C6-9B272BE180E2}" dt="2020-11-05T16:27:50.278" v="46" actId="478"/>
          <ac:spMkLst>
            <pc:docMk/>
            <pc:sldMk cId="2601167503" sldId="20830"/>
            <ac:spMk id="34" creationId="{283CB314-D135-4570-9489-18A6071324DE}"/>
          </ac:spMkLst>
        </pc:spChg>
        <pc:spChg chg="del">
          <ac:chgData name="Centurione, Vittorio" userId="4ea74cf0-023b-4086-96b5-c11f6770f13d" providerId="ADAL" clId="{E8C80F40-9485-4335-83C6-9B272BE180E2}" dt="2020-11-05T16:27:50.278" v="46" actId="478"/>
          <ac:spMkLst>
            <pc:docMk/>
            <pc:sldMk cId="2601167503" sldId="20830"/>
            <ac:spMk id="36" creationId="{B5252A58-9BD7-4519-855F-427293BB47DE}"/>
          </ac:spMkLst>
        </pc:spChg>
        <pc:spChg chg="del">
          <ac:chgData name="Centurione, Vittorio" userId="4ea74cf0-023b-4086-96b5-c11f6770f13d" providerId="ADAL" clId="{E8C80F40-9485-4335-83C6-9B272BE180E2}" dt="2020-11-05T16:27:50.278" v="46" actId="478"/>
          <ac:spMkLst>
            <pc:docMk/>
            <pc:sldMk cId="2601167503" sldId="20830"/>
            <ac:spMk id="37" creationId="{58C52842-20E4-4952-9CE4-A90AB382BC76}"/>
          </ac:spMkLst>
        </pc:spChg>
        <pc:spChg chg="del">
          <ac:chgData name="Centurione, Vittorio" userId="4ea74cf0-023b-4086-96b5-c11f6770f13d" providerId="ADAL" clId="{E8C80F40-9485-4335-83C6-9B272BE180E2}" dt="2020-11-05T16:27:50.278" v="46" actId="478"/>
          <ac:spMkLst>
            <pc:docMk/>
            <pc:sldMk cId="2601167503" sldId="20830"/>
            <ac:spMk id="38" creationId="{867F0E1C-31BD-422A-8011-65323049DBB0}"/>
          </ac:spMkLst>
        </pc:spChg>
        <pc:spChg chg="del">
          <ac:chgData name="Centurione, Vittorio" userId="4ea74cf0-023b-4086-96b5-c11f6770f13d" providerId="ADAL" clId="{E8C80F40-9485-4335-83C6-9B272BE180E2}" dt="2020-11-05T16:27:50.278" v="46" actId="478"/>
          <ac:spMkLst>
            <pc:docMk/>
            <pc:sldMk cId="2601167503" sldId="20830"/>
            <ac:spMk id="39" creationId="{AA344CA1-15FF-4C77-86AE-4CA84AA85A26}"/>
          </ac:spMkLst>
        </pc:spChg>
        <pc:spChg chg="del">
          <ac:chgData name="Centurione, Vittorio" userId="4ea74cf0-023b-4086-96b5-c11f6770f13d" providerId="ADAL" clId="{E8C80F40-9485-4335-83C6-9B272BE180E2}" dt="2020-11-05T16:27:50.278" v="46" actId="478"/>
          <ac:spMkLst>
            <pc:docMk/>
            <pc:sldMk cId="2601167503" sldId="20830"/>
            <ac:spMk id="40" creationId="{608EE13B-F37A-4C2F-9CFE-D78BCA3ABA51}"/>
          </ac:spMkLst>
        </pc:spChg>
        <pc:spChg chg="del">
          <ac:chgData name="Centurione, Vittorio" userId="4ea74cf0-023b-4086-96b5-c11f6770f13d" providerId="ADAL" clId="{E8C80F40-9485-4335-83C6-9B272BE180E2}" dt="2020-11-05T16:27:50.278" v="46" actId="478"/>
          <ac:spMkLst>
            <pc:docMk/>
            <pc:sldMk cId="2601167503" sldId="20830"/>
            <ac:spMk id="41" creationId="{F5554842-A160-4B87-8964-68B02E89D7A3}"/>
          </ac:spMkLst>
        </pc:spChg>
        <pc:spChg chg="del">
          <ac:chgData name="Centurione, Vittorio" userId="4ea74cf0-023b-4086-96b5-c11f6770f13d" providerId="ADAL" clId="{E8C80F40-9485-4335-83C6-9B272BE180E2}" dt="2020-11-05T16:27:50.278" v="46" actId="478"/>
          <ac:spMkLst>
            <pc:docMk/>
            <pc:sldMk cId="2601167503" sldId="20830"/>
            <ac:spMk id="43" creationId="{4DAEC9BA-1A32-47AE-BEB2-E073341F913B}"/>
          </ac:spMkLst>
        </pc:spChg>
        <pc:spChg chg="del">
          <ac:chgData name="Centurione, Vittorio" userId="4ea74cf0-023b-4086-96b5-c11f6770f13d" providerId="ADAL" clId="{E8C80F40-9485-4335-83C6-9B272BE180E2}" dt="2020-11-05T16:27:50.278" v="46" actId="478"/>
          <ac:spMkLst>
            <pc:docMk/>
            <pc:sldMk cId="2601167503" sldId="20830"/>
            <ac:spMk id="44" creationId="{9C8AC9C0-4466-41B7-98F2-677A9D15C56D}"/>
          </ac:spMkLst>
        </pc:spChg>
        <pc:spChg chg="del">
          <ac:chgData name="Centurione, Vittorio" userId="4ea74cf0-023b-4086-96b5-c11f6770f13d" providerId="ADAL" clId="{E8C80F40-9485-4335-83C6-9B272BE180E2}" dt="2020-11-05T16:27:50.278" v="46" actId="478"/>
          <ac:spMkLst>
            <pc:docMk/>
            <pc:sldMk cId="2601167503" sldId="20830"/>
            <ac:spMk id="45" creationId="{B6660100-30AF-4E1E-930D-D71F634EEAEC}"/>
          </ac:spMkLst>
        </pc:spChg>
        <pc:spChg chg="del">
          <ac:chgData name="Centurione, Vittorio" userId="4ea74cf0-023b-4086-96b5-c11f6770f13d" providerId="ADAL" clId="{E8C80F40-9485-4335-83C6-9B272BE180E2}" dt="2020-11-05T16:27:50.278" v="46" actId="478"/>
          <ac:spMkLst>
            <pc:docMk/>
            <pc:sldMk cId="2601167503" sldId="20830"/>
            <ac:spMk id="47" creationId="{A720E5FB-E095-4F10-803C-02F133BC9866}"/>
          </ac:spMkLst>
        </pc:spChg>
        <pc:spChg chg="del">
          <ac:chgData name="Centurione, Vittorio" userId="4ea74cf0-023b-4086-96b5-c11f6770f13d" providerId="ADAL" clId="{E8C80F40-9485-4335-83C6-9B272BE180E2}" dt="2020-11-05T16:27:50.278" v="46" actId="478"/>
          <ac:spMkLst>
            <pc:docMk/>
            <pc:sldMk cId="2601167503" sldId="20830"/>
            <ac:spMk id="48" creationId="{D3BC0D38-04AE-40E8-9F2E-B3C44F06A7B8}"/>
          </ac:spMkLst>
        </pc:spChg>
        <pc:spChg chg="del">
          <ac:chgData name="Centurione, Vittorio" userId="4ea74cf0-023b-4086-96b5-c11f6770f13d" providerId="ADAL" clId="{E8C80F40-9485-4335-83C6-9B272BE180E2}" dt="2020-11-05T16:27:50.278" v="46" actId="478"/>
          <ac:spMkLst>
            <pc:docMk/>
            <pc:sldMk cId="2601167503" sldId="20830"/>
            <ac:spMk id="49" creationId="{807F6D9B-6103-4D37-BB44-34A9F5B96BDA}"/>
          </ac:spMkLst>
        </pc:spChg>
        <pc:spChg chg="del">
          <ac:chgData name="Centurione, Vittorio" userId="4ea74cf0-023b-4086-96b5-c11f6770f13d" providerId="ADAL" clId="{E8C80F40-9485-4335-83C6-9B272BE180E2}" dt="2020-11-05T16:27:50.278" v="46" actId="478"/>
          <ac:spMkLst>
            <pc:docMk/>
            <pc:sldMk cId="2601167503" sldId="20830"/>
            <ac:spMk id="50" creationId="{A6A1BBE7-8877-4A2B-8765-532B8314D6C5}"/>
          </ac:spMkLst>
        </pc:spChg>
        <pc:spChg chg="del">
          <ac:chgData name="Centurione, Vittorio" userId="4ea74cf0-023b-4086-96b5-c11f6770f13d" providerId="ADAL" clId="{E8C80F40-9485-4335-83C6-9B272BE180E2}" dt="2020-11-05T16:27:50.278" v="46" actId="478"/>
          <ac:spMkLst>
            <pc:docMk/>
            <pc:sldMk cId="2601167503" sldId="20830"/>
            <ac:spMk id="51" creationId="{4EB7E18D-852C-4FD2-ACB6-B7DCA27E8563}"/>
          </ac:spMkLst>
        </pc:spChg>
        <pc:spChg chg="del">
          <ac:chgData name="Centurione, Vittorio" userId="4ea74cf0-023b-4086-96b5-c11f6770f13d" providerId="ADAL" clId="{E8C80F40-9485-4335-83C6-9B272BE180E2}" dt="2020-11-05T16:27:50.278" v="46" actId="478"/>
          <ac:spMkLst>
            <pc:docMk/>
            <pc:sldMk cId="2601167503" sldId="20830"/>
            <ac:spMk id="52" creationId="{663317E0-9CC2-46D2-8A17-185217213EC2}"/>
          </ac:spMkLst>
        </pc:spChg>
        <pc:spChg chg="del">
          <ac:chgData name="Centurione, Vittorio" userId="4ea74cf0-023b-4086-96b5-c11f6770f13d" providerId="ADAL" clId="{E8C80F40-9485-4335-83C6-9B272BE180E2}" dt="2020-11-05T16:27:50.278" v="46" actId="478"/>
          <ac:spMkLst>
            <pc:docMk/>
            <pc:sldMk cId="2601167503" sldId="20830"/>
            <ac:spMk id="53" creationId="{CB5D4AF4-E1BF-4507-8BDE-DDE8D7D1DDB2}"/>
          </ac:spMkLst>
        </pc:spChg>
        <pc:spChg chg="del">
          <ac:chgData name="Centurione, Vittorio" userId="4ea74cf0-023b-4086-96b5-c11f6770f13d" providerId="ADAL" clId="{E8C80F40-9485-4335-83C6-9B272BE180E2}" dt="2020-11-05T16:27:50.278" v="46" actId="478"/>
          <ac:spMkLst>
            <pc:docMk/>
            <pc:sldMk cId="2601167503" sldId="20830"/>
            <ac:spMk id="54" creationId="{A8CEBAA0-57A1-498B-AF31-CAE5B2496CCA}"/>
          </ac:spMkLst>
        </pc:spChg>
        <pc:spChg chg="del">
          <ac:chgData name="Centurione, Vittorio" userId="4ea74cf0-023b-4086-96b5-c11f6770f13d" providerId="ADAL" clId="{E8C80F40-9485-4335-83C6-9B272BE180E2}" dt="2020-11-05T16:27:50.278" v="46" actId="478"/>
          <ac:spMkLst>
            <pc:docMk/>
            <pc:sldMk cId="2601167503" sldId="20830"/>
            <ac:spMk id="55" creationId="{4D4ACF8D-F489-47D3-B47A-73F94CBBB46F}"/>
          </ac:spMkLst>
        </pc:spChg>
        <pc:spChg chg="del">
          <ac:chgData name="Centurione, Vittorio" userId="4ea74cf0-023b-4086-96b5-c11f6770f13d" providerId="ADAL" clId="{E8C80F40-9485-4335-83C6-9B272BE180E2}" dt="2020-11-05T16:27:50.278" v="46" actId="478"/>
          <ac:spMkLst>
            <pc:docMk/>
            <pc:sldMk cId="2601167503" sldId="20830"/>
            <ac:spMk id="56" creationId="{6D0592F7-1E96-4DF1-8AD5-4B0E6331F74E}"/>
          </ac:spMkLst>
        </pc:spChg>
        <pc:spChg chg="del">
          <ac:chgData name="Centurione, Vittorio" userId="4ea74cf0-023b-4086-96b5-c11f6770f13d" providerId="ADAL" clId="{E8C80F40-9485-4335-83C6-9B272BE180E2}" dt="2020-11-05T16:27:50.278" v="46" actId="478"/>
          <ac:spMkLst>
            <pc:docMk/>
            <pc:sldMk cId="2601167503" sldId="20830"/>
            <ac:spMk id="57" creationId="{D74B57BF-4061-48DF-AB22-E208D123C030}"/>
          </ac:spMkLst>
        </pc:spChg>
        <pc:spChg chg="del">
          <ac:chgData name="Centurione, Vittorio" userId="4ea74cf0-023b-4086-96b5-c11f6770f13d" providerId="ADAL" clId="{E8C80F40-9485-4335-83C6-9B272BE180E2}" dt="2020-11-05T16:27:50.278" v="46" actId="478"/>
          <ac:spMkLst>
            <pc:docMk/>
            <pc:sldMk cId="2601167503" sldId="20830"/>
            <ac:spMk id="58" creationId="{6814F91D-C815-4307-94A4-3DD569906592}"/>
          </ac:spMkLst>
        </pc:spChg>
        <pc:spChg chg="del">
          <ac:chgData name="Centurione, Vittorio" userId="4ea74cf0-023b-4086-96b5-c11f6770f13d" providerId="ADAL" clId="{E8C80F40-9485-4335-83C6-9B272BE180E2}" dt="2020-11-05T16:27:50.278" v="46" actId="478"/>
          <ac:spMkLst>
            <pc:docMk/>
            <pc:sldMk cId="2601167503" sldId="20830"/>
            <ac:spMk id="66" creationId="{EB9A5B4F-5E22-4333-8599-18F62B1E609E}"/>
          </ac:spMkLst>
        </pc:spChg>
        <pc:spChg chg="del">
          <ac:chgData name="Centurione, Vittorio" userId="4ea74cf0-023b-4086-96b5-c11f6770f13d" providerId="ADAL" clId="{E8C80F40-9485-4335-83C6-9B272BE180E2}" dt="2020-11-05T16:27:50.278" v="46" actId="478"/>
          <ac:spMkLst>
            <pc:docMk/>
            <pc:sldMk cId="2601167503" sldId="20830"/>
            <ac:spMk id="68" creationId="{592CA162-6EA8-40E0-AC3E-3B7398A3C140}"/>
          </ac:spMkLst>
        </pc:spChg>
        <pc:spChg chg="del">
          <ac:chgData name="Centurione, Vittorio" userId="4ea74cf0-023b-4086-96b5-c11f6770f13d" providerId="ADAL" clId="{E8C80F40-9485-4335-83C6-9B272BE180E2}" dt="2020-11-05T16:27:50.278" v="46" actId="478"/>
          <ac:spMkLst>
            <pc:docMk/>
            <pc:sldMk cId="2601167503" sldId="20830"/>
            <ac:spMk id="69" creationId="{894327D0-44C9-4DCE-89EA-744E1128BA55}"/>
          </ac:spMkLst>
        </pc:spChg>
        <pc:spChg chg="del">
          <ac:chgData name="Centurione, Vittorio" userId="4ea74cf0-023b-4086-96b5-c11f6770f13d" providerId="ADAL" clId="{E8C80F40-9485-4335-83C6-9B272BE180E2}" dt="2020-11-05T16:27:50.278" v="46" actId="478"/>
          <ac:spMkLst>
            <pc:docMk/>
            <pc:sldMk cId="2601167503" sldId="20830"/>
            <ac:spMk id="70" creationId="{FE9A2276-505C-4FC7-94BB-CB6B1C0DE444}"/>
          </ac:spMkLst>
        </pc:spChg>
        <pc:picChg chg="del">
          <ac:chgData name="Centurione, Vittorio" userId="4ea74cf0-023b-4086-96b5-c11f6770f13d" providerId="ADAL" clId="{E8C80F40-9485-4335-83C6-9B272BE180E2}" dt="2020-11-05T16:27:50.278" v="46" actId="478"/>
          <ac:picMkLst>
            <pc:docMk/>
            <pc:sldMk cId="2601167503" sldId="20830"/>
            <ac:picMk id="60" creationId="{27974DF8-0347-4DDA-888F-03AF4D94200B}"/>
          </ac:picMkLst>
        </pc:picChg>
        <pc:picChg chg="del">
          <ac:chgData name="Centurione, Vittorio" userId="4ea74cf0-023b-4086-96b5-c11f6770f13d" providerId="ADAL" clId="{E8C80F40-9485-4335-83C6-9B272BE180E2}" dt="2020-11-05T16:27:50.278" v="46" actId="478"/>
          <ac:picMkLst>
            <pc:docMk/>
            <pc:sldMk cId="2601167503" sldId="20830"/>
            <ac:picMk id="61" creationId="{5F548D8E-4095-4AF9-879C-2FE6E8B61F2B}"/>
          </ac:picMkLst>
        </pc:picChg>
        <pc:picChg chg="del">
          <ac:chgData name="Centurione, Vittorio" userId="4ea74cf0-023b-4086-96b5-c11f6770f13d" providerId="ADAL" clId="{E8C80F40-9485-4335-83C6-9B272BE180E2}" dt="2020-11-05T16:27:50.278" v="46" actId="478"/>
          <ac:picMkLst>
            <pc:docMk/>
            <pc:sldMk cId="2601167503" sldId="20830"/>
            <ac:picMk id="63" creationId="{1DB257F4-22DF-4799-81BE-EF0B01C13CD8}"/>
          </ac:picMkLst>
        </pc:picChg>
        <pc:picChg chg="del">
          <ac:chgData name="Centurione, Vittorio" userId="4ea74cf0-023b-4086-96b5-c11f6770f13d" providerId="ADAL" clId="{E8C80F40-9485-4335-83C6-9B272BE180E2}" dt="2020-11-05T16:27:50.278" v="46" actId="478"/>
          <ac:picMkLst>
            <pc:docMk/>
            <pc:sldMk cId="2601167503" sldId="20830"/>
            <ac:picMk id="64" creationId="{606353C4-6A54-4548-A4EE-09C5B183C131}"/>
          </ac:picMkLst>
        </pc:picChg>
        <pc:picChg chg="del">
          <ac:chgData name="Centurione, Vittorio" userId="4ea74cf0-023b-4086-96b5-c11f6770f13d" providerId="ADAL" clId="{E8C80F40-9485-4335-83C6-9B272BE180E2}" dt="2020-11-05T16:27:50.278" v="46" actId="478"/>
          <ac:picMkLst>
            <pc:docMk/>
            <pc:sldMk cId="2601167503" sldId="20830"/>
            <ac:picMk id="65" creationId="{CEB2A6D1-0AF4-4080-B1AA-69B78370C0E9}"/>
          </ac:picMkLst>
        </pc:picChg>
        <pc:picChg chg="del">
          <ac:chgData name="Centurione, Vittorio" userId="4ea74cf0-023b-4086-96b5-c11f6770f13d" providerId="ADAL" clId="{E8C80F40-9485-4335-83C6-9B272BE180E2}" dt="2020-11-05T16:27:50.278" v="46" actId="478"/>
          <ac:picMkLst>
            <pc:docMk/>
            <pc:sldMk cId="2601167503" sldId="20830"/>
            <ac:picMk id="67" creationId="{494D3C2D-07A0-4FA3-B3AB-686864A8DA92}"/>
          </ac:picMkLst>
        </pc:picChg>
        <pc:picChg chg="del">
          <ac:chgData name="Centurione, Vittorio" userId="4ea74cf0-023b-4086-96b5-c11f6770f13d" providerId="ADAL" clId="{E8C80F40-9485-4335-83C6-9B272BE180E2}" dt="2020-11-05T16:27:50.278" v="46" actId="478"/>
          <ac:picMkLst>
            <pc:docMk/>
            <pc:sldMk cId="2601167503" sldId="20830"/>
            <ac:picMk id="71" creationId="{7CC6D291-E14A-41DD-921D-3B4380CADE84}"/>
          </ac:picMkLst>
        </pc:picChg>
        <pc:picChg chg="del">
          <ac:chgData name="Centurione, Vittorio" userId="4ea74cf0-023b-4086-96b5-c11f6770f13d" providerId="ADAL" clId="{E8C80F40-9485-4335-83C6-9B272BE180E2}" dt="2020-11-05T16:27:50.278" v="46" actId="478"/>
          <ac:picMkLst>
            <pc:docMk/>
            <pc:sldMk cId="2601167503" sldId="20830"/>
            <ac:picMk id="72" creationId="{CBEA11E2-DF85-48A7-BEFC-0FDF7D9AF920}"/>
          </ac:picMkLst>
        </pc:picChg>
        <pc:cxnChg chg="del">
          <ac:chgData name="Centurione, Vittorio" userId="4ea74cf0-023b-4086-96b5-c11f6770f13d" providerId="ADAL" clId="{E8C80F40-9485-4335-83C6-9B272BE180E2}" dt="2020-11-05T16:27:50.278" v="46" actId="478"/>
          <ac:cxnSpMkLst>
            <pc:docMk/>
            <pc:sldMk cId="2601167503" sldId="20830"/>
            <ac:cxnSpMk id="26" creationId="{A3D8D062-B8D5-4BE1-BEBF-C086C82F7748}"/>
          </ac:cxnSpMkLst>
        </pc:cxnChg>
        <pc:cxnChg chg="del">
          <ac:chgData name="Centurione, Vittorio" userId="4ea74cf0-023b-4086-96b5-c11f6770f13d" providerId="ADAL" clId="{E8C80F40-9485-4335-83C6-9B272BE180E2}" dt="2020-11-05T16:27:50.278" v="46" actId="478"/>
          <ac:cxnSpMkLst>
            <pc:docMk/>
            <pc:sldMk cId="2601167503" sldId="20830"/>
            <ac:cxnSpMk id="29" creationId="{45425607-CE2B-4F39-95BF-93B22703C88A}"/>
          </ac:cxnSpMkLst>
        </pc:cxnChg>
        <pc:cxnChg chg="del">
          <ac:chgData name="Centurione, Vittorio" userId="4ea74cf0-023b-4086-96b5-c11f6770f13d" providerId="ADAL" clId="{E8C80F40-9485-4335-83C6-9B272BE180E2}" dt="2020-11-05T16:27:50.278" v="46" actId="478"/>
          <ac:cxnSpMkLst>
            <pc:docMk/>
            <pc:sldMk cId="2601167503" sldId="20830"/>
            <ac:cxnSpMk id="30" creationId="{3AA57649-C105-4D63-92FB-2F495E8FF7B5}"/>
          </ac:cxnSpMkLst>
        </pc:cxnChg>
      </pc:sldChg>
      <pc:sldChg chg="addSp delSp modSp add">
        <pc:chgData name="Centurione, Vittorio" userId="4ea74cf0-023b-4086-96b5-c11f6770f13d" providerId="ADAL" clId="{E8C80F40-9485-4335-83C6-9B272BE180E2}" dt="2020-11-06T14:07:32.127" v="394" actId="114"/>
        <pc:sldMkLst>
          <pc:docMk/>
          <pc:sldMk cId="1595622069" sldId="20831"/>
        </pc:sldMkLst>
        <pc:spChg chg="add mod">
          <ac:chgData name="Centurione, Vittorio" userId="4ea74cf0-023b-4086-96b5-c11f6770f13d" providerId="ADAL" clId="{E8C80F40-9485-4335-83C6-9B272BE180E2}" dt="2020-11-06T14:07:32.127" v="394" actId="114"/>
          <ac:spMkLst>
            <pc:docMk/>
            <pc:sldMk cId="1595622069" sldId="20831"/>
            <ac:spMk id="4" creationId="{81C21D28-E313-4DD0-BC27-1CC98153ED37}"/>
          </ac:spMkLst>
        </pc:spChg>
        <pc:spChg chg="del">
          <ac:chgData name="Centurione, Vittorio" userId="4ea74cf0-023b-4086-96b5-c11f6770f13d" providerId="ADAL" clId="{E8C80F40-9485-4335-83C6-9B272BE180E2}" dt="2020-11-06T14:07:16.333" v="367" actId="478"/>
          <ac:spMkLst>
            <pc:docMk/>
            <pc:sldMk cId="1595622069" sldId="20831"/>
            <ac:spMk id="24" creationId="{B09E3917-3D86-42FA-977E-6CF5A6B665F5}"/>
          </ac:spMkLst>
        </pc:spChg>
      </pc:sldChg>
      <pc:sldChg chg="del">
        <pc:chgData name="Centurione, Vittorio" userId="4ea74cf0-023b-4086-96b5-c11f6770f13d" providerId="ADAL" clId="{E8C80F40-9485-4335-83C6-9B272BE180E2}" dt="2020-11-05T16:28:24.252" v="141" actId="2696"/>
        <pc:sldMkLst>
          <pc:docMk/>
          <pc:sldMk cId="3928986494" sldId="20831"/>
        </pc:sldMkLst>
      </pc:sldChg>
      <pc:sldChg chg="addSp delSp modSp add ord">
        <pc:chgData name="Centurione, Vittorio" userId="4ea74cf0-023b-4086-96b5-c11f6770f13d" providerId="ADAL" clId="{E8C80F40-9485-4335-83C6-9B272BE180E2}" dt="2020-11-06T14:07:37.716" v="396" actId="114"/>
        <pc:sldMkLst>
          <pc:docMk/>
          <pc:sldMk cId="890566543" sldId="20832"/>
        </pc:sldMkLst>
        <pc:spChg chg="add mod">
          <ac:chgData name="Centurione, Vittorio" userId="4ea74cf0-023b-4086-96b5-c11f6770f13d" providerId="ADAL" clId="{E8C80F40-9485-4335-83C6-9B272BE180E2}" dt="2020-11-05T16:34:15.016" v="254" actId="1035"/>
          <ac:spMkLst>
            <pc:docMk/>
            <pc:sldMk cId="890566543" sldId="20832"/>
            <ac:spMk id="2" creationId="{3CC5C1B2-F9C5-4BE0-B316-D7473F4CBEE7}"/>
          </ac:spMkLst>
        </pc:spChg>
        <pc:spChg chg="add mod">
          <ac:chgData name="Centurione, Vittorio" userId="4ea74cf0-023b-4086-96b5-c11f6770f13d" providerId="ADAL" clId="{E8C80F40-9485-4335-83C6-9B272BE180E2}" dt="2020-11-05T16:34:15.016" v="254" actId="1035"/>
          <ac:spMkLst>
            <pc:docMk/>
            <pc:sldMk cId="890566543" sldId="20832"/>
            <ac:spMk id="5" creationId="{93EF6924-1207-45D5-B9B9-C9DD6336FDE7}"/>
          </ac:spMkLst>
        </pc:spChg>
        <pc:spChg chg="add mod">
          <ac:chgData name="Centurione, Vittorio" userId="4ea74cf0-023b-4086-96b5-c11f6770f13d" providerId="ADAL" clId="{E8C80F40-9485-4335-83C6-9B272BE180E2}" dt="2020-11-05T16:34:15.016" v="254" actId="1035"/>
          <ac:spMkLst>
            <pc:docMk/>
            <pc:sldMk cId="890566543" sldId="20832"/>
            <ac:spMk id="6" creationId="{108CEB1B-7CC3-46D7-AF7E-E481C18A6A3F}"/>
          </ac:spMkLst>
        </pc:spChg>
        <pc:spChg chg="add mod">
          <ac:chgData name="Centurione, Vittorio" userId="4ea74cf0-023b-4086-96b5-c11f6770f13d" providerId="ADAL" clId="{E8C80F40-9485-4335-83C6-9B272BE180E2}" dt="2020-11-05T16:34:15.016" v="254" actId="1035"/>
          <ac:spMkLst>
            <pc:docMk/>
            <pc:sldMk cId="890566543" sldId="20832"/>
            <ac:spMk id="7" creationId="{E90E8C09-101B-4FED-B231-8766CC8E7FEC}"/>
          </ac:spMkLst>
        </pc:spChg>
        <pc:spChg chg="add mod">
          <ac:chgData name="Centurione, Vittorio" userId="4ea74cf0-023b-4086-96b5-c11f6770f13d" providerId="ADAL" clId="{E8C80F40-9485-4335-83C6-9B272BE180E2}" dt="2020-11-05T16:34:15.016" v="254" actId="1035"/>
          <ac:spMkLst>
            <pc:docMk/>
            <pc:sldMk cId="890566543" sldId="20832"/>
            <ac:spMk id="8" creationId="{350D11FA-A7AD-449D-A6DE-8D0EB26F9F63}"/>
          </ac:spMkLst>
        </pc:spChg>
        <pc:spChg chg="add mod">
          <ac:chgData name="Centurione, Vittorio" userId="4ea74cf0-023b-4086-96b5-c11f6770f13d" providerId="ADAL" clId="{E8C80F40-9485-4335-83C6-9B272BE180E2}" dt="2020-11-05T16:33:42.382" v="238" actId="14100"/>
          <ac:spMkLst>
            <pc:docMk/>
            <pc:sldMk cId="890566543" sldId="20832"/>
            <ac:spMk id="9" creationId="{0899BEDC-A902-48D2-A249-9080B936C86B}"/>
          </ac:spMkLst>
        </pc:spChg>
        <pc:spChg chg="add mod">
          <ac:chgData name="Centurione, Vittorio" userId="4ea74cf0-023b-4086-96b5-c11f6770f13d" providerId="ADAL" clId="{E8C80F40-9485-4335-83C6-9B272BE180E2}" dt="2020-11-05T16:34:15.016" v="254" actId="1035"/>
          <ac:spMkLst>
            <pc:docMk/>
            <pc:sldMk cId="890566543" sldId="20832"/>
            <ac:spMk id="10" creationId="{10054D07-E46F-40D6-857C-A3D98918454A}"/>
          </ac:spMkLst>
        </pc:spChg>
        <pc:spChg chg="add del mod">
          <ac:chgData name="Centurione, Vittorio" userId="4ea74cf0-023b-4086-96b5-c11f6770f13d" providerId="ADAL" clId="{E8C80F40-9485-4335-83C6-9B272BE180E2}" dt="2020-11-05T16:33:16.977" v="213" actId="478"/>
          <ac:spMkLst>
            <pc:docMk/>
            <pc:sldMk cId="890566543" sldId="20832"/>
            <ac:spMk id="11" creationId="{85B003BD-B6AC-449D-8FD9-3F20D6071671}"/>
          </ac:spMkLst>
        </pc:spChg>
        <pc:spChg chg="add del mod">
          <ac:chgData name="Centurione, Vittorio" userId="4ea74cf0-023b-4086-96b5-c11f6770f13d" providerId="ADAL" clId="{E8C80F40-9485-4335-83C6-9B272BE180E2}" dt="2020-11-05T16:33:16.977" v="213" actId="478"/>
          <ac:spMkLst>
            <pc:docMk/>
            <pc:sldMk cId="890566543" sldId="20832"/>
            <ac:spMk id="12" creationId="{8EF05E1E-2CC3-463A-A8B3-8E4EC477F2A7}"/>
          </ac:spMkLst>
        </pc:spChg>
        <pc:spChg chg="add mod">
          <ac:chgData name="Centurione, Vittorio" userId="4ea74cf0-023b-4086-96b5-c11f6770f13d" providerId="ADAL" clId="{E8C80F40-9485-4335-83C6-9B272BE180E2}" dt="2020-11-05T16:33:48.446" v="239" actId="571"/>
          <ac:spMkLst>
            <pc:docMk/>
            <pc:sldMk cId="890566543" sldId="20832"/>
            <ac:spMk id="13" creationId="{C5709DD1-A1C6-48DC-A3D0-8A59591C6CDF}"/>
          </ac:spMkLst>
        </pc:spChg>
        <pc:spChg chg="add mod">
          <ac:chgData name="Centurione, Vittorio" userId="4ea74cf0-023b-4086-96b5-c11f6770f13d" providerId="ADAL" clId="{E8C80F40-9485-4335-83C6-9B272BE180E2}" dt="2020-11-05T16:33:52.765" v="240" actId="571"/>
          <ac:spMkLst>
            <pc:docMk/>
            <pc:sldMk cId="890566543" sldId="20832"/>
            <ac:spMk id="14" creationId="{B251CB5D-FC80-4693-8C17-150C777226AD}"/>
          </ac:spMkLst>
        </pc:spChg>
        <pc:spChg chg="add mod">
          <ac:chgData name="Centurione, Vittorio" userId="4ea74cf0-023b-4086-96b5-c11f6770f13d" providerId="ADAL" clId="{E8C80F40-9485-4335-83C6-9B272BE180E2}" dt="2020-11-05T16:33:54.805" v="241" actId="571"/>
          <ac:spMkLst>
            <pc:docMk/>
            <pc:sldMk cId="890566543" sldId="20832"/>
            <ac:spMk id="15" creationId="{5AFC64E7-F785-49AA-B5E6-47B97215E571}"/>
          </ac:spMkLst>
        </pc:spChg>
        <pc:spChg chg="add mod">
          <ac:chgData name="Centurione, Vittorio" userId="4ea74cf0-023b-4086-96b5-c11f6770f13d" providerId="ADAL" clId="{E8C80F40-9485-4335-83C6-9B272BE180E2}" dt="2020-11-05T16:33:58.960" v="242" actId="571"/>
          <ac:spMkLst>
            <pc:docMk/>
            <pc:sldMk cId="890566543" sldId="20832"/>
            <ac:spMk id="16" creationId="{11E47EF7-53C5-4490-9216-2B3373BB2C54}"/>
          </ac:spMkLst>
        </pc:spChg>
        <pc:spChg chg="add mod">
          <ac:chgData name="Centurione, Vittorio" userId="4ea74cf0-023b-4086-96b5-c11f6770f13d" providerId="ADAL" clId="{E8C80F40-9485-4335-83C6-9B272BE180E2}" dt="2020-11-05T16:34:02.592" v="243" actId="571"/>
          <ac:spMkLst>
            <pc:docMk/>
            <pc:sldMk cId="890566543" sldId="20832"/>
            <ac:spMk id="17" creationId="{7E509E72-9DED-4379-B86C-B39829F78583}"/>
          </ac:spMkLst>
        </pc:spChg>
        <pc:spChg chg="add mod">
          <ac:chgData name="Centurione, Vittorio" userId="4ea74cf0-023b-4086-96b5-c11f6770f13d" providerId="ADAL" clId="{E8C80F40-9485-4335-83C6-9B272BE180E2}" dt="2020-11-05T16:34:35.709" v="276" actId="1076"/>
          <ac:spMkLst>
            <pc:docMk/>
            <pc:sldMk cId="890566543" sldId="20832"/>
            <ac:spMk id="18" creationId="{7E535DF9-7328-4181-B21A-2F1F9E7509E3}"/>
          </ac:spMkLst>
        </pc:spChg>
        <pc:spChg chg="add mod">
          <ac:chgData name="Centurione, Vittorio" userId="4ea74cf0-023b-4086-96b5-c11f6770f13d" providerId="ADAL" clId="{E8C80F40-9485-4335-83C6-9B272BE180E2}" dt="2020-11-05T16:35:01.089" v="283" actId="1037"/>
          <ac:spMkLst>
            <pc:docMk/>
            <pc:sldMk cId="890566543" sldId="20832"/>
            <ac:spMk id="19" creationId="{8C0B60E9-873C-44B2-908B-CDDEA4A33923}"/>
          </ac:spMkLst>
        </pc:spChg>
        <pc:spChg chg="add mod">
          <ac:chgData name="Centurione, Vittorio" userId="4ea74cf0-023b-4086-96b5-c11f6770f13d" providerId="ADAL" clId="{E8C80F40-9485-4335-83C6-9B272BE180E2}" dt="2020-11-05T16:35:03.740" v="286" actId="1037"/>
          <ac:spMkLst>
            <pc:docMk/>
            <pc:sldMk cId="890566543" sldId="20832"/>
            <ac:spMk id="20" creationId="{D60DEAFD-5102-434E-BE3C-253178AEF2DB}"/>
          </ac:spMkLst>
        </pc:spChg>
        <pc:spChg chg="add mod">
          <ac:chgData name="Centurione, Vittorio" userId="4ea74cf0-023b-4086-96b5-c11f6770f13d" providerId="ADAL" clId="{E8C80F40-9485-4335-83C6-9B272BE180E2}" dt="2020-11-05T16:35:06.131" v="288" actId="1037"/>
          <ac:spMkLst>
            <pc:docMk/>
            <pc:sldMk cId="890566543" sldId="20832"/>
            <ac:spMk id="21" creationId="{292B20F6-28B7-4349-B195-A3ED551F5D67}"/>
          </ac:spMkLst>
        </pc:spChg>
        <pc:spChg chg="add mod">
          <ac:chgData name="Centurione, Vittorio" userId="4ea74cf0-023b-4086-96b5-c11f6770f13d" providerId="ADAL" clId="{E8C80F40-9485-4335-83C6-9B272BE180E2}" dt="2020-11-05T16:35:08.994" v="293" actId="1037"/>
          <ac:spMkLst>
            <pc:docMk/>
            <pc:sldMk cId="890566543" sldId="20832"/>
            <ac:spMk id="22" creationId="{0649794C-1985-41F4-87F4-127427124605}"/>
          </ac:spMkLst>
        </pc:spChg>
        <pc:spChg chg="add mod">
          <ac:chgData name="Centurione, Vittorio" userId="4ea74cf0-023b-4086-96b5-c11f6770f13d" providerId="ADAL" clId="{E8C80F40-9485-4335-83C6-9B272BE180E2}" dt="2020-11-05T16:35:11.549" v="296" actId="1037"/>
          <ac:spMkLst>
            <pc:docMk/>
            <pc:sldMk cId="890566543" sldId="20832"/>
            <ac:spMk id="23" creationId="{6EE1DD28-9C4F-43A6-8E3F-95B0E0705EA6}"/>
          </ac:spMkLst>
        </pc:spChg>
        <pc:spChg chg="mod">
          <ac:chgData name="Centurione, Vittorio" userId="4ea74cf0-023b-4086-96b5-c11f6770f13d" providerId="ADAL" clId="{E8C80F40-9485-4335-83C6-9B272BE180E2}" dt="2020-11-06T14:07:37.716" v="396" actId="114"/>
          <ac:spMkLst>
            <pc:docMk/>
            <pc:sldMk cId="890566543" sldId="20832"/>
            <ac:spMk id="24" creationId="{B09E3917-3D86-42FA-977E-6CF5A6B665F5}"/>
          </ac:spMkLst>
        </pc:spChg>
      </pc:sldChg>
      <pc:sldChg chg="del">
        <pc:chgData name="Centurione, Vittorio" userId="4ea74cf0-023b-4086-96b5-c11f6770f13d" providerId="ADAL" clId="{E8C80F40-9485-4335-83C6-9B272BE180E2}" dt="2020-11-05T16:28:24.429" v="146" actId="2696"/>
        <pc:sldMkLst>
          <pc:docMk/>
          <pc:sldMk cId="1284562330" sldId="20832"/>
        </pc:sldMkLst>
      </pc:sldChg>
      <pc:sldChg chg="add">
        <pc:chgData name="Centurione, Vittorio" userId="4ea74cf0-023b-4086-96b5-c11f6770f13d" providerId="ADAL" clId="{E8C80F40-9485-4335-83C6-9B272BE180E2}" dt="2020-11-05T16:37:16.283" v="328"/>
        <pc:sldMkLst>
          <pc:docMk/>
          <pc:sldMk cId="2117258818" sldId="20833"/>
        </pc:sldMkLst>
      </pc:sldChg>
      <pc:sldChg chg="addSp delSp add">
        <pc:chgData name="Centurione, Vittorio" userId="4ea74cf0-023b-4086-96b5-c11f6770f13d" providerId="ADAL" clId="{E8C80F40-9485-4335-83C6-9B272BE180E2}" dt="2020-11-06T14:08:08.419" v="398" actId="478"/>
        <pc:sldMkLst>
          <pc:docMk/>
          <pc:sldMk cId="4066981824" sldId="20834"/>
        </pc:sldMkLst>
        <pc:spChg chg="add del">
          <ac:chgData name="Centurione, Vittorio" userId="4ea74cf0-023b-4086-96b5-c11f6770f13d" providerId="ADAL" clId="{E8C80F40-9485-4335-83C6-9B272BE180E2}" dt="2020-11-06T14:08:08.419" v="398" actId="478"/>
          <ac:spMkLst>
            <pc:docMk/>
            <pc:sldMk cId="4066981824" sldId="20834"/>
            <ac:spMk id="24" creationId="{B09E3917-3D86-42FA-977E-6CF5A6B665F5}"/>
          </ac:spMkLst>
        </pc:spChg>
      </pc:sldChg>
      <pc:sldChg chg="add">
        <pc:chgData name="Centurione, Vittorio" userId="4ea74cf0-023b-4086-96b5-c11f6770f13d" providerId="ADAL" clId="{E8C80F40-9485-4335-83C6-9B272BE180E2}" dt="2020-11-05T16:37:37.066" v="330"/>
        <pc:sldMkLst>
          <pc:docMk/>
          <pc:sldMk cId="1068804750" sldId="20835"/>
        </pc:sldMkLst>
      </pc:sldChg>
      <pc:sldChg chg="addSp delSp modSp add ord">
        <pc:chgData name="Centurione, Vittorio" userId="4ea74cf0-023b-4086-96b5-c11f6770f13d" providerId="ADAL" clId="{E8C80F40-9485-4335-83C6-9B272BE180E2}" dt="2020-11-06T14:14:06.082" v="621" actId="20577"/>
        <pc:sldMkLst>
          <pc:docMk/>
          <pc:sldMk cId="1582394514" sldId="20836"/>
        </pc:sldMkLst>
        <pc:spChg chg="del">
          <ac:chgData name="Centurione, Vittorio" userId="4ea74cf0-023b-4086-96b5-c11f6770f13d" providerId="ADAL" clId="{E8C80F40-9485-4335-83C6-9B272BE180E2}" dt="2020-11-06T14:08:32.360" v="425" actId="478"/>
          <ac:spMkLst>
            <pc:docMk/>
            <pc:sldMk cId="1582394514" sldId="20836"/>
            <ac:spMk id="2" creationId="{3CC5C1B2-F9C5-4BE0-B316-D7473F4CBEE7}"/>
          </ac:spMkLst>
        </pc:spChg>
        <pc:spChg chg="add del mod">
          <ac:chgData name="Centurione, Vittorio" userId="4ea74cf0-023b-4086-96b5-c11f6770f13d" providerId="ADAL" clId="{E8C80F40-9485-4335-83C6-9B272BE180E2}" dt="2020-11-06T14:14:06.082" v="621" actId="20577"/>
          <ac:spMkLst>
            <pc:docMk/>
            <pc:sldMk cId="1582394514" sldId="20836"/>
            <ac:spMk id="3" creationId="{E6AC5206-17D6-4CF5-8E1D-130170A0ED3F}"/>
          </ac:spMkLst>
        </pc:spChg>
        <pc:spChg chg="del">
          <ac:chgData name="Centurione, Vittorio" userId="4ea74cf0-023b-4086-96b5-c11f6770f13d" providerId="ADAL" clId="{E8C80F40-9485-4335-83C6-9B272BE180E2}" dt="2020-11-06T14:08:32.360" v="425" actId="478"/>
          <ac:spMkLst>
            <pc:docMk/>
            <pc:sldMk cId="1582394514" sldId="20836"/>
            <ac:spMk id="5" creationId="{93EF6924-1207-45D5-B9B9-C9DD6336FDE7}"/>
          </ac:spMkLst>
        </pc:spChg>
        <pc:spChg chg="del">
          <ac:chgData name="Centurione, Vittorio" userId="4ea74cf0-023b-4086-96b5-c11f6770f13d" providerId="ADAL" clId="{E8C80F40-9485-4335-83C6-9B272BE180E2}" dt="2020-11-06T14:08:32.360" v="425" actId="478"/>
          <ac:spMkLst>
            <pc:docMk/>
            <pc:sldMk cId="1582394514" sldId="20836"/>
            <ac:spMk id="6" creationId="{108CEB1B-7CC3-46D7-AF7E-E481C18A6A3F}"/>
          </ac:spMkLst>
        </pc:spChg>
        <pc:spChg chg="del">
          <ac:chgData name="Centurione, Vittorio" userId="4ea74cf0-023b-4086-96b5-c11f6770f13d" providerId="ADAL" clId="{E8C80F40-9485-4335-83C6-9B272BE180E2}" dt="2020-11-06T14:08:32.360" v="425" actId="478"/>
          <ac:spMkLst>
            <pc:docMk/>
            <pc:sldMk cId="1582394514" sldId="20836"/>
            <ac:spMk id="7" creationId="{E90E8C09-101B-4FED-B231-8766CC8E7FEC}"/>
          </ac:spMkLst>
        </pc:spChg>
        <pc:spChg chg="del">
          <ac:chgData name="Centurione, Vittorio" userId="4ea74cf0-023b-4086-96b5-c11f6770f13d" providerId="ADAL" clId="{E8C80F40-9485-4335-83C6-9B272BE180E2}" dt="2020-11-06T14:08:32.360" v="425" actId="478"/>
          <ac:spMkLst>
            <pc:docMk/>
            <pc:sldMk cId="1582394514" sldId="20836"/>
            <ac:spMk id="8" creationId="{350D11FA-A7AD-449D-A6DE-8D0EB26F9F63}"/>
          </ac:spMkLst>
        </pc:spChg>
        <pc:spChg chg="del">
          <ac:chgData name="Centurione, Vittorio" userId="4ea74cf0-023b-4086-96b5-c11f6770f13d" providerId="ADAL" clId="{E8C80F40-9485-4335-83C6-9B272BE180E2}" dt="2020-11-06T14:08:32.360" v="425" actId="478"/>
          <ac:spMkLst>
            <pc:docMk/>
            <pc:sldMk cId="1582394514" sldId="20836"/>
            <ac:spMk id="9" creationId="{0899BEDC-A902-48D2-A249-9080B936C86B}"/>
          </ac:spMkLst>
        </pc:spChg>
        <pc:spChg chg="del">
          <ac:chgData name="Centurione, Vittorio" userId="4ea74cf0-023b-4086-96b5-c11f6770f13d" providerId="ADAL" clId="{E8C80F40-9485-4335-83C6-9B272BE180E2}" dt="2020-11-06T14:08:32.360" v="425" actId="478"/>
          <ac:spMkLst>
            <pc:docMk/>
            <pc:sldMk cId="1582394514" sldId="20836"/>
            <ac:spMk id="10" creationId="{10054D07-E46F-40D6-857C-A3D98918454A}"/>
          </ac:spMkLst>
        </pc:spChg>
        <pc:spChg chg="del">
          <ac:chgData name="Centurione, Vittorio" userId="4ea74cf0-023b-4086-96b5-c11f6770f13d" providerId="ADAL" clId="{E8C80F40-9485-4335-83C6-9B272BE180E2}" dt="2020-11-06T14:08:32.360" v="425" actId="478"/>
          <ac:spMkLst>
            <pc:docMk/>
            <pc:sldMk cId="1582394514" sldId="20836"/>
            <ac:spMk id="13" creationId="{C5709DD1-A1C6-48DC-A3D0-8A59591C6CDF}"/>
          </ac:spMkLst>
        </pc:spChg>
        <pc:spChg chg="del">
          <ac:chgData name="Centurione, Vittorio" userId="4ea74cf0-023b-4086-96b5-c11f6770f13d" providerId="ADAL" clId="{E8C80F40-9485-4335-83C6-9B272BE180E2}" dt="2020-11-06T14:08:32.360" v="425" actId="478"/>
          <ac:spMkLst>
            <pc:docMk/>
            <pc:sldMk cId="1582394514" sldId="20836"/>
            <ac:spMk id="14" creationId="{B251CB5D-FC80-4693-8C17-150C777226AD}"/>
          </ac:spMkLst>
        </pc:spChg>
        <pc:spChg chg="del">
          <ac:chgData name="Centurione, Vittorio" userId="4ea74cf0-023b-4086-96b5-c11f6770f13d" providerId="ADAL" clId="{E8C80F40-9485-4335-83C6-9B272BE180E2}" dt="2020-11-06T14:08:32.360" v="425" actId="478"/>
          <ac:spMkLst>
            <pc:docMk/>
            <pc:sldMk cId="1582394514" sldId="20836"/>
            <ac:spMk id="15" creationId="{5AFC64E7-F785-49AA-B5E6-47B97215E571}"/>
          </ac:spMkLst>
        </pc:spChg>
        <pc:spChg chg="del">
          <ac:chgData name="Centurione, Vittorio" userId="4ea74cf0-023b-4086-96b5-c11f6770f13d" providerId="ADAL" clId="{E8C80F40-9485-4335-83C6-9B272BE180E2}" dt="2020-11-06T14:08:32.360" v="425" actId="478"/>
          <ac:spMkLst>
            <pc:docMk/>
            <pc:sldMk cId="1582394514" sldId="20836"/>
            <ac:spMk id="16" creationId="{11E47EF7-53C5-4490-9216-2B3373BB2C54}"/>
          </ac:spMkLst>
        </pc:spChg>
        <pc:spChg chg="del">
          <ac:chgData name="Centurione, Vittorio" userId="4ea74cf0-023b-4086-96b5-c11f6770f13d" providerId="ADAL" clId="{E8C80F40-9485-4335-83C6-9B272BE180E2}" dt="2020-11-06T14:08:32.360" v="425" actId="478"/>
          <ac:spMkLst>
            <pc:docMk/>
            <pc:sldMk cId="1582394514" sldId="20836"/>
            <ac:spMk id="17" creationId="{7E509E72-9DED-4379-B86C-B39829F78583}"/>
          </ac:spMkLst>
        </pc:spChg>
        <pc:spChg chg="del">
          <ac:chgData name="Centurione, Vittorio" userId="4ea74cf0-023b-4086-96b5-c11f6770f13d" providerId="ADAL" clId="{E8C80F40-9485-4335-83C6-9B272BE180E2}" dt="2020-11-06T14:08:32.360" v="425" actId="478"/>
          <ac:spMkLst>
            <pc:docMk/>
            <pc:sldMk cId="1582394514" sldId="20836"/>
            <ac:spMk id="18" creationId="{7E535DF9-7328-4181-B21A-2F1F9E7509E3}"/>
          </ac:spMkLst>
        </pc:spChg>
        <pc:spChg chg="del">
          <ac:chgData name="Centurione, Vittorio" userId="4ea74cf0-023b-4086-96b5-c11f6770f13d" providerId="ADAL" clId="{E8C80F40-9485-4335-83C6-9B272BE180E2}" dt="2020-11-06T14:08:32.360" v="425" actId="478"/>
          <ac:spMkLst>
            <pc:docMk/>
            <pc:sldMk cId="1582394514" sldId="20836"/>
            <ac:spMk id="19" creationId="{8C0B60E9-873C-44B2-908B-CDDEA4A33923}"/>
          </ac:spMkLst>
        </pc:spChg>
        <pc:spChg chg="del">
          <ac:chgData name="Centurione, Vittorio" userId="4ea74cf0-023b-4086-96b5-c11f6770f13d" providerId="ADAL" clId="{E8C80F40-9485-4335-83C6-9B272BE180E2}" dt="2020-11-06T14:08:32.360" v="425" actId="478"/>
          <ac:spMkLst>
            <pc:docMk/>
            <pc:sldMk cId="1582394514" sldId="20836"/>
            <ac:spMk id="20" creationId="{D60DEAFD-5102-434E-BE3C-253178AEF2DB}"/>
          </ac:spMkLst>
        </pc:spChg>
        <pc:spChg chg="del">
          <ac:chgData name="Centurione, Vittorio" userId="4ea74cf0-023b-4086-96b5-c11f6770f13d" providerId="ADAL" clId="{E8C80F40-9485-4335-83C6-9B272BE180E2}" dt="2020-11-06T14:08:32.360" v="425" actId="478"/>
          <ac:spMkLst>
            <pc:docMk/>
            <pc:sldMk cId="1582394514" sldId="20836"/>
            <ac:spMk id="21" creationId="{292B20F6-28B7-4349-B195-A3ED551F5D67}"/>
          </ac:spMkLst>
        </pc:spChg>
        <pc:spChg chg="del">
          <ac:chgData name="Centurione, Vittorio" userId="4ea74cf0-023b-4086-96b5-c11f6770f13d" providerId="ADAL" clId="{E8C80F40-9485-4335-83C6-9B272BE180E2}" dt="2020-11-06T14:08:32.360" v="425" actId="478"/>
          <ac:spMkLst>
            <pc:docMk/>
            <pc:sldMk cId="1582394514" sldId="20836"/>
            <ac:spMk id="22" creationId="{0649794C-1985-41F4-87F4-127427124605}"/>
          </ac:spMkLst>
        </pc:spChg>
        <pc:spChg chg="del">
          <ac:chgData name="Centurione, Vittorio" userId="4ea74cf0-023b-4086-96b5-c11f6770f13d" providerId="ADAL" clId="{E8C80F40-9485-4335-83C6-9B272BE180E2}" dt="2020-11-06T14:08:32.360" v="425" actId="478"/>
          <ac:spMkLst>
            <pc:docMk/>
            <pc:sldMk cId="1582394514" sldId="20836"/>
            <ac:spMk id="23" creationId="{6EE1DD28-9C4F-43A6-8E3F-95B0E0705EA6}"/>
          </ac:spMkLst>
        </pc:spChg>
        <pc:spChg chg="mod">
          <ac:chgData name="Centurione, Vittorio" userId="4ea74cf0-023b-4086-96b5-c11f6770f13d" providerId="ADAL" clId="{E8C80F40-9485-4335-83C6-9B272BE180E2}" dt="2020-11-06T14:09:38.253" v="445" actId="20577"/>
          <ac:spMkLst>
            <pc:docMk/>
            <pc:sldMk cId="1582394514" sldId="20836"/>
            <ac:spMk id="24" creationId="{B09E3917-3D86-42FA-977E-6CF5A6B665F5}"/>
          </ac:spMkLst>
        </pc:spChg>
      </pc:sldChg>
      <pc:sldMasterChg chg="del delSldLayout">
        <pc:chgData name="Centurione, Vittorio" userId="4ea74cf0-023b-4086-96b5-c11f6770f13d" providerId="ADAL" clId="{E8C80F40-9485-4335-83C6-9B272BE180E2}" dt="2020-11-05T16:28:23.127" v="93" actId="2696"/>
        <pc:sldMasterMkLst>
          <pc:docMk/>
          <pc:sldMasterMk cId="3219788368" sldId="2147483719"/>
        </pc:sldMasterMkLst>
        <pc:sldLayoutChg chg="del">
          <pc:chgData name="Centurione, Vittorio" userId="4ea74cf0-023b-4086-96b5-c11f6770f13d" providerId="ADAL" clId="{E8C80F40-9485-4335-83C6-9B272BE180E2}" dt="2020-11-05T16:28:22.996" v="66" actId="2696"/>
          <pc:sldLayoutMkLst>
            <pc:docMk/>
            <pc:sldMasterMk cId="3219788368" sldId="2147483719"/>
            <pc:sldLayoutMk cId="1757131206" sldId="2147483720"/>
          </pc:sldLayoutMkLst>
        </pc:sldLayoutChg>
        <pc:sldLayoutChg chg="del">
          <pc:chgData name="Centurione, Vittorio" userId="4ea74cf0-023b-4086-96b5-c11f6770f13d" providerId="ADAL" clId="{E8C80F40-9485-4335-83C6-9B272BE180E2}" dt="2020-11-05T16:28:23" v="67" actId="2696"/>
          <pc:sldLayoutMkLst>
            <pc:docMk/>
            <pc:sldMasterMk cId="3219788368" sldId="2147483719"/>
            <pc:sldLayoutMk cId="2769301983" sldId="2147483721"/>
          </pc:sldLayoutMkLst>
        </pc:sldLayoutChg>
        <pc:sldLayoutChg chg="del">
          <pc:chgData name="Centurione, Vittorio" userId="4ea74cf0-023b-4086-96b5-c11f6770f13d" providerId="ADAL" clId="{E8C80F40-9485-4335-83C6-9B272BE180E2}" dt="2020-11-05T16:28:23.004" v="68" actId="2696"/>
          <pc:sldLayoutMkLst>
            <pc:docMk/>
            <pc:sldMasterMk cId="3219788368" sldId="2147483719"/>
            <pc:sldLayoutMk cId="2354019893" sldId="2147483722"/>
          </pc:sldLayoutMkLst>
        </pc:sldLayoutChg>
        <pc:sldLayoutChg chg="del">
          <pc:chgData name="Centurione, Vittorio" userId="4ea74cf0-023b-4086-96b5-c11f6770f13d" providerId="ADAL" clId="{E8C80F40-9485-4335-83C6-9B272BE180E2}" dt="2020-11-05T16:28:23.008" v="69" actId="2696"/>
          <pc:sldLayoutMkLst>
            <pc:docMk/>
            <pc:sldMasterMk cId="3219788368" sldId="2147483719"/>
            <pc:sldLayoutMk cId="3544705280" sldId="2147483723"/>
          </pc:sldLayoutMkLst>
        </pc:sldLayoutChg>
        <pc:sldLayoutChg chg="del">
          <pc:chgData name="Centurione, Vittorio" userId="4ea74cf0-023b-4086-96b5-c11f6770f13d" providerId="ADAL" clId="{E8C80F40-9485-4335-83C6-9B272BE180E2}" dt="2020-11-05T16:28:23.010" v="70" actId="2696"/>
          <pc:sldLayoutMkLst>
            <pc:docMk/>
            <pc:sldMasterMk cId="3219788368" sldId="2147483719"/>
            <pc:sldLayoutMk cId="2942107583" sldId="2147483724"/>
          </pc:sldLayoutMkLst>
        </pc:sldLayoutChg>
        <pc:sldLayoutChg chg="del">
          <pc:chgData name="Centurione, Vittorio" userId="4ea74cf0-023b-4086-96b5-c11f6770f13d" providerId="ADAL" clId="{E8C80F40-9485-4335-83C6-9B272BE180E2}" dt="2020-11-05T16:28:23.011" v="71" actId="2696"/>
          <pc:sldLayoutMkLst>
            <pc:docMk/>
            <pc:sldMasterMk cId="3219788368" sldId="2147483719"/>
            <pc:sldLayoutMk cId="1837097046" sldId="2147483725"/>
          </pc:sldLayoutMkLst>
        </pc:sldLayoutChg>
        <pc:sldLayoutChg chg="del">
          <pc:chgData name="Centurione, Vittorio" userId="4ea74cf0-023b-4086-96b5-c11f6770f13d" providerId="ADAL" clId="{E8C80F40-9485-4335-83C6-9B272BE180E2}" dt="2020-11-05T16:28:23.013" v="72" actId="2696"/>
          <pc:sldLayoutMkLst>
            <pc:docMk/>
            <pc:sldMasterMk cId="3219788368" sldId="2147483719"/>
            <pc:sldLayoutMk cId="3013630338" sldId="2147483726"/>
          </pc:sldLayoutMkLst>
        </pc:sldLayoutChg>
        <pc:sldLayoutChg chg="del">
          <pc:chgData name="Centurione, Vittorio" userId="4ea74cf0-023b-4086-96b5-c11f6770f13d" providerId="ADAL" clId="{E8C80F40-9485-4335-83C6-9B272BE180E2}" dt="2020-11-05T16:28:23.016" v="73" actId="2696"/>
          <pc:sldLayoutMkLst>
            <pc:docMk/>
            <pc:sldMasterMk cId="3219788368" sldId="2147483719"/>
            <pc:sldLayoutMk cId="2343324231" sldId="2147483727"/>
          </pc:sldLayoutMkLst>
        </pc:sldLayoutChg>
        <pc:sldLayoutChg chg="del">
          <pc:chgData name="Centurione, Vittorio" userId="4ea74cf0-023b-4086-96b5-c11f6770f13d" providerId="ADAL" clId="{E8C80F40-9485-4335-83C6-9B272BE180E2}" dt="2020-11-05T16:28:23.018" v="74" actId="2696"/>
          <pc:sldLayoutMkLst>
            <pc:docMk/>
            <pc:sldMasterMk cId="3219788368" sldId="2147483719"/>
            <pc:sldLayoutMk cId="3875652316" sldId="2147483728"/>
          </pc:sldLayoutMkLst>
        </pc:sldLayoutChg>
        <pc:sldLayoutChg chg="del">
          <pc:chgData name="Centurione, Vittorio" userId="4ea74cf0-023b-4086-96b5-c11f6770f13d" providerId="ADAL" clId="{E8C80F40-9485-4335-83C6-9B272BE180E2}" dt="2020-11-05T16:28:23.019" v="75" actId="2696"/>
          <pc:sldLayoutMkLst>
            <pc:docMk/>
            <pc:sldMasterMk cId="3219788368" sldId="2147483719"/>
            <pc:sldLayoutMk cId="3772469264" sldId="2147483729"/>
          </pc:sldLayoutMkLst>
        </pc:sldLayoutChg>
        <pc:sldLayoutChg chg="del">
          <pc:chgData name="Centurione, Vittorio" userId="4ea74cf0-023b-4086-96b5-c11f6770f13d" providerId="ADAL" clId="{E8C80F40-9485-4335-83C6-9B272BE180E2}" dt="2020-11-05T16:28:23.021" v="76" actId="2696"/>
          <pc:sldLayoutMkLst>
            <pc:docMk/>
            <pc:sldMasterMk cId="3219788368" sldId="2147483719"/>
            <pc:sldLayoutMk cId="311331393" sldId="2147483730"/>
          </pc:sldLayoutMkLst>
        </pc:sldLayoutChg>
        <pc:sldLayoutChg chg="del">
          <pc:chgData name="Centurione, Vittorio" userId="4ea74cf0-023b-4086-96b5-c11f6770f13d" providerId="ADAL" clId="{E8C80F40-9485-4335-83C6-9B272BE180E2}" dt="2020-11-05T16:28:23.027" v="77" actId="2696"/>
          <pc:sldLayoutMkLst>
            <pc:docMk/>
            <pc:sldMasterMk cId="3219788368" sldId="2147483719"/>
            <pc:sldLayoutMk cId="2858088456" sldId="2147483731"/>
          </pc:sldLayoutMkLst>
        </pc:sldLayoutChg>
        <pc:sldLayoutChg chg="del">
          <pc:chgData name="Centurione, Vittorio" userId="4ea74cf0-023b-4086-96b5-c11f6770f13d" providerId="ADAL" clId="{E8C80F40-9485-4335-83C6-9B272BE180E2}" dt="2020-11-05T16:28:23.029" v="78" actId="2696"/>
          <pc:sldLayoutMkLst>
            <pc:docMk/>
            <pc:sldMasterMk cId="3219788368" sldId="2147483719"/>
            <pc:sldLayoutMk cId="3460269356" sldId="2147483732"/>
          </pc:sldLayoutMkLst>
        </pc:sldLayoutChg>
        <pc:sldLayoutChg chg="del">
          <pc:chgData name="Centurione, Vittorio" userId="4ea74cf0-023b-4086-96b5-c11f6770f13d" providerId="ADAL" clId="{E8C80F40-9485-4335-83C6-9B272BE180E2}" dt="2020-11-05T16:28:23.031" v="79" actId="2696"/>
          <pc:sldLayoutMkLst>
            <pc:docMk/>
            <pc:sldMasterMk cId="3219788368" sldId="2147483719"/>
            <pc:sldLayoutMk cId="244011240" sldId="2147483733"/>
          </pc:sldLayoutMkLst>
        </pc:sldLayoutChg>
        <pc:sldLayoutChg chg="del">
          <pc:chgData name="Centurione, Vittorio" userId="4ea74cf0-023b-4086-96b5-c11f6770f13d" providerId="ADAL" clId="{E8C80F40-9485-4335-83C6-9B272BE180E2}" dt="2020-11-05T16:28:23.035" v="80" actId="2696"/>
          <pc:sldLayoutMkLst>
            <pc:docMk/>
            <pc:sldMasterMk cId="3219788368" sldId="2147483719"/>
            <pc:sldLayoutMk cId="1128133463" sldId="2147483734"/>
          </pc:sldLayoutMkLst>
        </pc:sldLayoutChg>
        <pc:sldLayoutChg chg="del">
          <pc:chgData name="Centurione, Vittorio" userId="4ea74cf0-023b-4086-96b5-c11f6770f13d" providerId="ADAL" clId="{E8C80F40-9485-4335-83C6-9B272BE180E2}" dt="2020-11-05T16:28:23.040" v="81" actId="2696"/>
          <pc:sldLayoutMkLst>
            <pc:docMk/>
            <pc:sldMasterMk cId="3219788368" sldId="2147483719"/>
            <pc:sldLayoutMk cId="2203238723" sldId="2147483735"/>
          </pc:sldLayoutMkLst>
        </pc:sldLayoutChg>
        <pc:sldLayoutChg chg="del">
          <pc:chgData name="Centurione, Vittorio" userId="4ea74cf0-023b-4086-96b5-c11f6770f13d" providerId="ADAL" clId="{E8C80F40-9485-4335-83C6-9B272BE180E2}" dt="2020-11-05T16:28:23.043" v="82" actId="2696"/>
          <pc:sldLayoutMkLst>
            <pc:docMk/>
            <pc:sldMasterMk cId="3219788368" sldId="2147483719"/>
            <pc:sldLayoutMk cId="2985520687" sldId="2147483736"/>
          </pc:sldLayoutMkLst>
        </pc:sldLayoutChg>
        <pc:sldLayoutChg chg="del">
          <pc:chgData name="Centurione, Vittorio" userId="4ea74cf0-023b-4086-96b5-c11f6770f13d" providerId="ADAL" clId="{E8C80F40-9485-4335-83C6-9B272BE180E2}" dt="2020-11-05T16:28:23.050" v="83" actId="2696"/>
          <pc:sldLayoutMkLst>
            <pc:docMk/>
            <pc:sldMasterMk cId="3219788368" sldId="2147483719"/>
            <pc:sldLayoutMk cId="3169663344" sldId="2147483737"/>
          </pc:sldLayoutMkLst>
        </pc:sldLayoutChg>
        <pc:sldLayoutChg chg="del">
          <pc:chgData name="Centurione, Vittorio" userId="4ea74cf0-023b-4086-96b5-c11f6770f13d" providerId="ADAL" clId="{E8C80F40-9485-4335-83C6-9B272BE180E2}" dt="2020-11-05T16:28:23.057" v="84" actId="2696"/>
          <pc:sldLayoutMkLst>
            <pc:docMk/>
            <pc:sldMasterMk cId="3219788368" sldId="2147483719"/>
            <pc:sldLayoutMk cId="3302231368" sldId="2147483738"/>
          </pc:sldLayoutMkLst>
        </pc:sldLayoutChg>
        <pc:sldLayoutChg chg="del">
          <pc:chgData name="Centurione, Vittorio" userId="4ea74cf0-023b-4086-96b5-c11f6770f13d" providerId="ADAL" clId="{E8C80F40-9485-4335-83C6-9B272BE180E2}" dt="2020-11-05T16:28:23.072" v="85" actId="2696"/>
          <pc:sldLayoutMkLst>
            <pc:docMk/>
            <pc:sldMasterMk cId="3219788368" sldId="2147483719"/>
            <pc:sldLayoutMk cId="491730166" sldId="2147483739"/>
          </pc:sldLayoutMkLst>
        </pc:sldLayoutChg>
        <pc:sldLayoutChg chg="del">
          <pc:chgData name="Centurione, Vittorio" userId="4ea74cf0-023b-4086-96b5-c11f6770f13d" providerId="ADAL" clId="{E8C80F40-9485-4335-83C6-9B272BE180E2}" dt="2020-11-05T16:28:23.089" v="86" actId="2696"/>
          <pc:sldLayoutMkLst>
            <pc:docMk/>
            <pc:sldMasterMk cId="3219788368" sldId="2147483719"/>
            <pc:sldLayoutMk cId="1032583056" sldId="2147483740"/>
          </pc:sldLayoutMkLst>
        </pc:sldLayoutChg>
        <pc:sldLayoutChg chg="del">
          <pc:chgData name="Centurione, Vittorio" userId="4ea74cf0-023b-4086-96b5-c11f6770f13d" providerId="ADAL" clId="{E8C80F40-9485-4335-83C6-9B272BE180E2}" dt="2020-11-05T16:28:23.115" v="88" actId="2696"/>
          <pc:sldLayoutMkLst>
            <pc:docMk/>
            <pc:sldMasterMk cId="3219788368" sldId="2147483719"/>
            <pc:sldLayoutMk cId="94857705" sldId="2147483741"/>
          </pc:sldLayoutMkLst>
        </pc:sldLayoutChg>
        <pc:sldLayoutChg chg="del">
          <pc:chgData name="Centurione, Vittorio" userId="4ea74cf0-023b-4086-96b5-c11f6770f13d" providerId="ADAL" clId="{E8C80F40-9485-4335-83C6-9B272BE180E2}" dt="2020-11-05T16:28:23.117" v="90" actId="2696"/>
          <pc:sldLayoutMkLst>
            <pc:docMk/>
            <pc:sldMasterMk cId="3219788368" sldId="2147483719"/>
            <pc:sldLayoutMk cId="1852108247" sldId="2147483742"/>
          </pc:sldLayoutMkLst>
        </pc:sldLayoutChg>
        <pc:sldLayoutChg chg="del">
          <pc:chgData name="Centurione, Vittorio" userId="4ea74cf0-023b-4086-96b5-c11f6770f13d" providerId="ADAL" clId="{E8C80F40-9485-4335-83C6-9B272BE180E2}" dt="2020-11-05T16:28:23.120" v="91" actId="2696"/>
          <pc:sldLayoutMkLst>
            <pc:docMk/>
            <pc:sldMasterMk cId="3219788368" sldId="2147483719"/>
            <pc:sldLayoutMk cId="2528800488" sldId="2147483743"/>
          </pc:sldLayoutMkLst>
        </pc:sldLayoutChg>
        <pc:sldLayoutChg chg="del">
          <pc:chgData name="Centurione, Vittorio" userId="4ea74cf0-023b-4086-96b5-c11f6770f13d" providerId="ADAL" clId="{E8C80F40-9485-4335-83C6-9B272BE180E2}" dt="2020-11-05T16:28:23.125" v="92" actId="2696"/>
          <pc:sldLayoutMkLst>
            <pc:docMk/>
            <pc:sldMasterMk cId="3219788368" sldId="2147483719"/>
            <pc:sldLayoutMk cId="1586325448" sldId="2147483744"/>
          </pc:sldLayoutMkLst>
        </pc:sldLayoutChg>
        <pc:sldLayoutChg chg="del">
          <pc:chgData name="Centurione, Vittorio" userId="4ea74cf0-023b-4086-96b5-c11f6770f13d" providerId="ADAL" clId="{E8C80F40-9485-4335-83C6-9B272BE180E2}" dt="2020-11-05T16:28:23.100" v="87" actId="2696"/>
          <pc:sldLayoutMkLst>
            <pc:docMk/>
            <pc:sldMasterMk cId="3219788368" sldId="2147483719"/>
            <pc:sldLayoutMk cId="2387558079" sldId="2147483774"/>
          </pc:sldLayoutMkLst>
        </pc:sldLayoutChg>
        <pc:sldLayoutChg chg="del">
          <pc:chgData name="Centurione, Vittorio" userId="4ea74cf0-023b-4086-96b5-c11f6770f13d" providerId="ADAL" clId="{E8C80F40-9485-4335-83C6-9B272BE180E2}" dt="2020-11-05T16:28:23.116" v="89" actId="2696"/>
          <pc:sldLayoutMkLst>
            <pc:docMk/>
            <pc:sldMasterMk cId="3219788368" sldId="2147483719"/>
            <pc:sldLayoutMk cId="3527000906" sldId="2147483781"/>
          </pc:sldLayoutMkLst>
        </pc:sldLayoutChg>
      </pc:sldMasterChg>
    </pc:docChg>
  </pc:docChgLst>
  <pc:docChgLst>
    <pc:chgData name="Centurione, Vittorio" userId="4ea74cf0-023b-4086-96b5-c11f6770f13d" providerId="ADAL" clId="{C79EBADB-BFD3-4A4A-842C-5D0FDEE4FD92}"/>
    <pc:docChg chg="undo custSel addSld modSld">
      <pc:chgData name="Centurione, Vittorio" userId="4ea74cf0-023b-4086-96b5-c11f6770f13d" providerId="ADAL" clId="{C79EBADB-BFD3-4A4A-842C-5D0FDEE4FD92}" dt="2020-11-04T10:15:06.548" v="601" actId="13926"/>
      <pc:docMkLst>
        <pc:docMk/>
      </pc:docMkLst>
      <pc:sldChg chg="delSp modSp">
        <pc:chgData name="Centurione, Vittorio" userId="4ea74cf0-023b-4086-96b5-c11f6770f13d" providerId="ADAL" clId="{C79EBADB-BFD3-4A4A-842C-5D0FDEE4FD92}" dt="2020-11-01T20:37:18.225" v="205" actId="1036"/>
        <pc:sldMkLst>
          <pc:docMk/>
          <pc:sldMk cId="2511185278" sldId="20782"/>
        </pc:sldMkLst>
        <pc:spChg chg="mod">
          <ac:chgData name="Centurione, Vittorio" userId="4ea74cf0-023b-4086-96b5-c11f6770f13d" providerId="ADAL" clId="{C79EBADB-BFD3-4A4A-842C-5D0FDEE4FD92}" dt="2020-11-01T20:37:09.987" v="198" actId="1036"/>
          <ac:spMkLst>
            <pc:docMk/>
            <pc:sldMk cId="2511185278" sldId="20782"/>
            <ac:spMk id="110" creationId="{C202B1D2-BDF5-478A-A268-2A0C73AC90D7}"/>
          </ac:spMkLst>
        </pc:spChg>
        <pc:spChg chg="mod">
          <ac:chgData name="Centurione, Vittorio" userId="4ea74cf0-023b-4086-96b5-c11f6770f13d" providerId="ADAL" clId="{C79EBADB-BFD3-4A4A-842C-5D0FDEE4FD92}" dt="2020-11-01T20:37:09.987" v="198" actId="1036"/>
          <ac:spMkLst>
            <pc:docMk/>
            <pc:sldMk cId="2511185278" sldId="20782"/>
            <ac:spMk id="111" creationId="{9CDCDFCB-A66D-42B0-81BB-905A4F219E12}"/>
          </ac:spMkLst>
        </pc:spChg>
        <pc:spChg chg="mod">
          <ac:chgData name="Centurione, Vittorio" userId="4ea74cf0-023b-4086-96b5-c11f6770f13d" providerId="ADAL" clId="{C79EBADB-BFD3-4A4A-842C-5D0FDEE4FD92}" dt="2020-11-01T20:37:18.225" v="205" actId="1036"/>
          <ac:spMkLst>
            <pc:docMk/>
            <pc:sldMk cId="2511185278" sldId="20782"/>
            <ac:spMk id="112" creationId="{081E79F9-1DD1-44A9-8B5D-617846EFB848}"/>
          </ac:spMkLst>
        </pc:spChg>
        <pc:spChg chg="mod topLvl">
          <ac:chgData name="Centurione, Vittorio" userId="4ea74cf0-023b-4086-96b5-c11f6770f13d" providerId="ADAL" clId="{C79EBADB-BFD3-4A4A-842C-5D0FDEE4FD92}" dt="2020-11-01T20:37:18.225" v="205" actId="1036"/>
          <ac:spMkLst>
            <pc:docMk/>
            <pc:sldMk cId="2511185278" sldId="20782"/>
            <ac:spMk id="115" creationId="{83ABFA30-A793-4705-A91E-A5E0A4492801}"/>
          </ac:spMkLst>
        </pc:spChg>
        <pc:grpChg chg="del">
          <ac:chgData name="Centurione, Vittorio" userId="4ea74cf0-023b-4086-96b5-c11f6770f13d" providerId="ADAL" clId="{C79EBADB-BFD3-4A4A-842C-5D0FDEE4FD92}" dt="2020-11-01T20:37:13.875" v="199" actId="478"/>
          <ac:grpSpMkLst>
            <pc:docMk/>
            <pc:sldMk cId="2511185278" sldId="20782"/>
            <ac:grpSpMk id="113" creationId="{9CCE9EF2-8474-4E02-8AEA-2011616C5F85}"/>
          </ac:grpSpMkLst>
        </pc:grpChg>
        <pc:picChg chg="del topLvl">
          <ac:chgData name="Centurione, Vittorio" userId="4ea74cf0-023b-4086-96b5-c11f6770f13d" providerId="ADAL" clId="{C79EBADB-BFD3-4A4A-842C-5D0FDEE4FD92}" dt="2020-11-01T20:37:13.875" v="199" actId="478"/>
          <ac:picMkLst>
            <pc:docMk/>
            <pc:sldMk cId="2511185278" sldId="20782"/>
            <ac:picMk id="114" creationId="{969ACCF5-17CC-402A-99ED-3E11D9B93DC9}"/>
          </ac:picMkLst>
        </pc:picChg>
      </pc:sldChg>
      <pc:sldChg chg="addSp delSp">
        <pc:chgData name="Centurione, Vittorio" userId="4ea74cf0-023b-4086-96b5-c11f6770f13d" providerId="ADAL" clId="{C79EBADB-BFD3-4A4A-842C-5D0FDEE4FD92}" dt="2020-11-02T18:01:13.721" v="209"/>
        <pc:sldMkLst>
          <pc:docMk/>
          <pc:sldMk cId="87923069" sldId="20823"/>
        </pc:sldMkLst>
        <pc:spChg chg="add del">
          <ac:chgData name="Centurione, Vittorio" userId="4ea74cf0-023b-4086-96b5-c11f6770f13d" providerId="ADAL" clId="{C79EBADB-BFD3-4A4A-842C-5D0FDEE4FD92}" dt="2020-11-02T18:01:11.300" v="207"/>
          <ac:spMkLst>
            <pc:docMk/>
            <pc:sldMk cId="87923069" sldId="20823"/>
            <ac:spMk id="29" creationId="{341AFD0D-F5FD-44BD-9231-1624B18E1CEA}"/>
          </ac:spMkLst>
        </pc:spChg>
        <pc:spChg chg="add del">
          <ac:chgData name="Centurione, Vittorio" userId="4ea74cf0-023b-4086-96b5-c11f6770f13d" providerId="ADAL" clId="{C79EBADB-BFD3-4A4A-842C-5D0FDEE4FD92}" dt="2020-11-02T18:01:11.300" v="207"/>
          <ac:spMkLst>
            <pc:docMk/>
            <pc:sldMk cId="87923069" sldId="20823"/>
            <ac:spMk id="37" creationId="{CE9CFB73-4FB0-4CC4-B0A2-77C38FADC89B}"/>
          </ac:spMkLst>
        </pc:spChg>
        <pc:spChg chg="add del">
          <ac:chgData name="Centurione, Vittorio" userId="4ea74cf0-023b-4086-96b5-c11f6770f13d" providerId="ADAL" clId="{C79EBADB-BFD3-4A4A-842C-5D0FDEE4FD92}" dt="2020-11-02T18:01:11.300" v="207"/>
          <ac:spMkLst>
            <pc:docMk/>
            <pc:sldMk cId="87923069" sldId="20823"/>
            <ac:spMk id="38" creationId="{35DEC6E5-DC51-4A73-BF05-004EB8B0157C}"/>
          </ac:spMkLst>
        </pc:spChg>
        <pc:spChg chg="add del">
          <ac:chgData name="Centurione, Vittorio" userId="4ea74cf0-023b-4086-96b5-c11f6770f13d" providerId="ADAL" clId="{C79EBADB-BFD3-4A4A-842C-5D0FDEE4FD92}" dt="2020-11-02T18:01:11.300" v="207"/>
          <ac:spMkLst>
            <pc:docMk/>
            <pc:sldMk cId="87923069" sldId="20823"/>
            <ac:spMk id="40" creationId="{577E023E-1C5E-4EC3-BE97-4C61D8D02137}"/>
          </ac:spMkLst>
        </pc:spChg>
        <pc:spChg chg="add del">
          <ac:chgData name="Centurione, Vittorio" userId="4ea74cf0-023b-4086-96b5-c11f6770f13d" providerId="ADAL" clId="{C79EBADB-BFD3-4A4A-842C-5D0FDEE4FD92}" dt="2020-11-02T18:01:11.300" v="207"/>
          <ac:spMkLst>
            <pc:docMk/>
            <pc:sldMk cId="87923069" sldId="20823"/>
            <ac:spMk id="43" creationId="{1C8C31D3-47EA-4321-8414-9D61CA91F9E9}"/>
          </ac:spMkLst>
        </pc:spChg>
        <pc:spChg chg="add del">
          <ac:chgData name="Centurione, Vittorio" userId="4ea74cf0-023b-4086-96b5-c11f6770f13d" providerId="ADAL" clId="{C79EBADB-BFD3-4A4A-842C-5D0FDEE4FD92}" dt="2020-11-02T18:01:11.300" v="207"/>
          <ac:spMkLst>
            <pc:docMk/>
            <pc:sldMk cId="87923069" sldId="20823"/>
            <ac:spMk id="44" creationId="{1835CB04-83F8-4990-A7C6-4D7FD30F5C9A}"/>
          </ac:spMkLst>
        </pc:spChg>
        <pc:spChg chg="add del">
          <ac:chgData name="Centurione, Vittorio" userId="4ea74cf0-023b-4086-96b5-c11f6770f13d" providerId="ADAL" clId="{C79EBADB-BFD3-4A4A-842C-5D0FDEE4FD92}" dt="2020-11-02T18:01:11.300" v="207"/>
          <ac:spMkLst>
            <pc:docMk/>
            <pc:sldMk cId="87923069" sldId="20823"/>
            <ac:spMk id="45" creationId="{3F5208EA-FC74-477A-A880-05833AAD3252}"/>
          </ac:spMkLst>
        </pc:spChg>
        <pc:spChg chg="add del">
          <ac:chgData name="Centurione, Vittorio" userId="4ea74cf0-023b-4086-96b5-c11f6770f13d" providerId="ADAL" clId="{C79EBADB-BFD3-4A4A-842C-5D0FDEE4FD92}" dt="2020-11-02T18:01:11.300" v="207"/>
          <ac:spMkLst>
            <pc:docMk/>
            <pc:sldMk cId="87923069" sldId="20823"/>
            <ac:spMk id="46" creationId="{558F0161-5D84-4F58-811E-9A2F2B7F8D6D}"/>
          </ac:spMkLst>
        </pc:spChg>
        <pc:spChg chg="add del">
          <ac:chgData name="Centurione, Vittorio" userId="4ea74cf0-023b-4086-96b5-c11f6770f13d" providerId="ADAL" clId="{C79EBADB-BFD3-4A4A-842C-5D0FDEE4FD92}" dt="2020-11-02T18:01:11.300" v="207"/>
          <ac:spMkLst>
            <pc:docMk/>
            <pc:sldMk cId="87923069" sldId="20823"/>
            <ac:spMk id="47" creationId="{04392862-9EF2-4D7A-955D-7EDE85D9FE7C}"/>
          </ac:spMkLst>
        </pc:spChg>
        <pc:spChg chg="add del">
          <ac:chgData name="Centurione, Vittorio" userId="4ea74cf0-023b-4086-96b5-c11f6770f13d" providerId="ADAL" clId="{C79EBADB-BFD3-4A4A-842C-5D0FDEE4FD92}" dt="2020-11-02T18:01:11.300" v="207"/>
          <ac:spMkLst>
            <pc:docMk/>
            <pc:sldMk cId="87923069" sldId="20823"/>
            <ac:spMk id="48" creationId="{B4EA0880-37A9-4E71-8D58-4A7AD9F1A79A}"/>
          </ac:spMkLst>
        </pc:spChg>
        <pc:spChg chg="add del">
          <ac:chgData name="Centurione, Vittorio" userId="4ea74cf0-023b-4086-96b5-c11f6770f13d" providerId="ADAL" clId="{C79EBADB-BFD3-4A4A-842C-5D0FDEE4FD92}" dt="2020-11-02T18:01:11.300" v="207"/>
          <ac:spMkLst>
            <pc:docMk/>
            <pc:sldMk cId="87923069" sldId="20823"/>
            <ac:spMk id="49" creationId="{E0279A4F-EE2B-4B9A-86D0-7837A0B9F938}"/>
          </ac:spMkLst>
        </pc:spChg>
        <pc:spChg chg="add del">
          <ac:chgData name="Centurione, Vittorio" userId="4ea74cf0-023b-4086-96b5-c11f6770f13d" providerId="ADAL" clId="{C79EBADB-BFD3-4A4A-842C-5D0FDEE4FD92}" dt="2020-11-02T18:01:11.300" v="207"/>
          <ac:spMkLst>
            <pc:docMk/>
            <pc:sldMk cId="87923069" sldId="20823"/>
            <ac:spMk id="50" creationId="{E713A53A-27F4-45EE-9661-582A178B892B}"/>
          </ac:spMkLst>
        </pc:spChg>
        <pc:spChg chg="add del">
          <ac:chgData name="Centurione, Vittorio" userId="4ea74cf0-023b-4086-96b5-c11f6770f13d" providerId="ADAL" clId="{C79EBADB-BFD3-4A4A-842C-5D0FDEE4FD92}" dt="2020-11-02T18:01:11.300" v="207"/>
          <ac:spMkLst>
            <pc:docMk/>
            <pc:sldMk cId="87923069" sldId="20823"/>
            <ac:spMk id="51" creationId="{1DD9CB15-1A55-4B04-84C4-871EC2836D57}"/>
          </ac:spMkLst>
        </pc:spChg>
        <pc:spChg chg="add del">
          <ac:chgData name="Centurione, Vittorio" userId="4ea74cf0-023b-4086-96b5-c11f6770f13d" providerId="ADAL" clId="{C79EBADB-BFD3-4A4A-842C-5D0FDEE4FD92}" dt="2020-11-02T18:01:11.300" v="207"/>
          <ac:spMkLst>
            <pc:docMk/>
            <pc:sldMk cId="87923069" sldId="20823"/>
            <ac:spMk id="52" creationId="{CCD27EA1-433C-4A7F-858A-C689220633EC}"/>
          </ac:spMkLst>
        </pc:spChg>
        <pc:spChg chg="add del">
          <ac:chgData name="Centurione, Vittorio" userId="4ea74cf0-023b-4086-96b5-c11f6770f13d" providerId="ADAL" clId="{C79EBADB-BFD3-4A4A-842C-5D0FDEE4FD92}" dt="2020-11-02T18:01:11.300" v="207"/>
          <ac:spMkLst>
            <pc:docMk/>
            <pc:sldMk cId="87923069" sldId="20823"/>
            <ac:spMk id="54" creationId="{38E1D1FC-B7C7-44AC-A74F-E38D4B6AF6EF}"/>
          </ac:spMkLst>
        </pc:spChg>
        <pc:spChg chg="add del">
          <ac:chgData name="Centurione, Vittorio" userId="4ea74cf0-023b-4086-96b5-c11f6770f13d" providerId="ADAL" clId="{C79EBADB-BFD3-4A4A-842C-5D0FDEE4FD92}" dt="2020-11-02T18:01:11.300" v="207"/>
          <ac:spMkLst>
            <pc:docMk/>
            <pc:sldMk cId="87923069" sldId="20823"/>
            <ac:spMk id="55" creationId="{374674CD-63BA-47A8-BACF-6ED6077882E3}"/>
          </ac:spMkLst>
        </pc:spChg>
        <pc:spChg chg="add del">
          <ac:chgData name="Centurione, Vittorio" userId="4ea74cf0-023b-4086-96b5-c11f6770f13d" providerId="ADAL" clId="{C79EBADB-BFD3-4A4A-842C-5D0FDEE4FD92}" dt="2020-11-02T18:01:11.300" v="207"/>
          <ac:spMkLst>
            <pc:docMk/>
            <pc:sldMk cId="87923069" sldId="20823"/>
            <ac:spMk id="56" creationId="{218C0B45-3CCD-4146-BB06-F216C8DDA828}"/>
          </ac:spMkLst>
        </pc:spChg>
        <pc:spChg chg="add del">
          <ac:chgData name="Centurione, Vittorio" userId="4ea74cf0-023b-4086-96b5-c11f6770f13d" providerId="ADAL" clId="{C79EBADB-BFD3-4A4A-842C-5D0FDEE4FD92}" dt="2020-11-02T18:01:11.300" v="207"/>
          <ac:spMkLst>
            <pc:docMk/>
            <pc:sldMk cId="87923069" sldId="20823"/>
            <ac:spMk id="57" creationId="{39BB1EF1-5618-4763-B9C6-AF6E74FF7F23}"/>
          </ac:spMkLst>
        </pc:spChg>
        <pc:spChg chg="add del">
          <ac:chgData name="Centurione, Vittorio" userId="4ea74cf0-023b-4086-96b5-c11f6770f13d" providerId="ADAL" clId="{C79EBADB-BFD3-4A4A-842C-5D0FDEE4FD92}" dt="2020-11-02T18:01:11.300" v="207"/>
          <ac:spMkLst>
            <pc:docMk/>
            <pc:sldMk cId="87923069" sldId="20823"/>
            <ac:spMk id="58" creationId="{7E869274-E8BA-4C2B-AE8B-93DDF456759B}"/>
          </ac:spMkLst>
        </pc:spChg>
        <pc:picChg chg="add del">
          <ac:chgData name="Centurione, Vittorio" userId="4ea74cf0-023b-4086-96b5-c11f6770f13d" providerId="ADAL" clId="{C79EBADB-BFD3-4A4A-842C-5D0FDEE4FD92}" dt="2020-11-02T18:01:13.721" v="209"/>
          <ac:picMkLst>
            <pc:docMk/>
            <pc:sldMk cId="87923069" sldId="20823"/>
            <ac:picMk id="2" creationId="{E153595F-DF6A-4251-BF23-ADC0DE989A61}"/>
          </ac:picMkLst>
        </pc:picChg>
        <pc:picChg chg="add del">
          <ac:chgData name="Centurione, Vittorio" userId="4ea74cf0-023b-4086-96b5-c11f6770f13d" providerId="ADAL" clId="{C79EBADB-BFD3-4A4A-842C-5D0FDEE4FD92}" dt="2020-11-02T18:01:11.300" v="207"/>
          <ac:picMkLst>
            <pc:docMk/>
            <pc:sldMk cId="87923069" sldId="20823"/>
            <ac:picMk id="53" creationId="{649AD75B-7367-4E4A-9EBF-84DFA5B3388F}"/>
          </ac:picMkLst>
        </pc:picChg>
        <pc:picChg chg="add del">
          <ac:chgData name="Centurione, Vittorio" userId="4ea74cf0-023b-4086-96b5-c11f6770f13d" providerId="ADAL" clId="{C79EBADB-BFD3-4A4A-842C-5D0FDEE4FD92}" dt="2020-11-02T18:01:11.300" v="207"/>
          <ac:picMkLst>
            <pc:docMk/>
            <pc:sldMk cId="87923069" sldId="20823"/>
            <ac:picMk id="59" creationId="{7EB5EB26-7631-4F00-B81E-E5A42D2220E9}"/>
          </ac:picMkLst>
        </pc:picChg>
      </pc:sldChg>
      <pc:sldChg chg="modSp">
        <pc:chgData name="Centurione, Vittorio" userId="4ea74cf0-023b-4086-96b5-c11f6770f13d" providerId="ADAL" clId="{C79EBADB-BFD3-4A4A-842C-5D0FDEE4FD92}" dt="2020-11-04T10:15:06.548" v="601" actId="13926"/>
        <pc:sldMkLst>
          <pc:docMk/>
          <pc:sldMk cId="770097622" sldId="20829"/>
        </pc:sldMkLst>
        <pc:spChg chg="mod">
          <ac:chgData name="Centurione, Vittorio" userId="4ea74cf0-023b-4086-96b5-c11f6770f13d" providerId="ADAL" clId="{C79EBADB-BFD3-4A4A-842C-5D0FDEE4FD92}" dt="2020-11-04T10:15:06.548" v="601" actId="13926"/>
          <ac:spMkLst>
            <pc:docMk/>
            <pc:sldMk cId="770097622" sldId="20829"/>
            <ac:spMk id="10" creationId="{C09AE13A-46E8-4CFA-A1B9-0D1FDA1E63A4}"/>
          </ac:spMkLst>
        </pc:spChg>
      </pc:sldChg>
      <pc:sldChg chg="addSp delSp modSp add">
        <pc:chgData name="Centurione, Vittorio" userId="4ea74cf0-023b-4086-96b5-c11f6770f13d" providerId="ADAL" clId="{C79EBADB-BFD3-4A4A-842C-5D0FDEE4FD92}" dt="2020-11-01T20:19:01.118" v="189"/>
        <pc:sldMkLst>
          <pc:docMk/>
          <pc:sldMk cId="3928986494" sldId="20831"/>
        </pc:sldMkLst>
        <pc:spChg chg="add del">
          <ac:chgData name="Centurione, Vittorio" userId="4ea74cf0-023b-4086-96b5-c11f6770f13d" providerId="ADAL" clId="{C79EBADB-BFD3-4A4A-842C-5D0FDEE4FD92}" dt="2020-11-01T20:18:59.867" v="187"/>
          <ac:spMkLst>
            <pc:docMk/>
            <pc:sldMk cId="3928986494" sldId="20831"/>
            <ac:spMk id="79" creationId="{E617977C-F81D-40B2-86EF-832693D893F1}"/>
          </ac:spMkLst>
        </pc:spChg>
        <pc:spChg chg="add del">
          <ac:chgData name="Centurione, Vittorio" userId="4ea74cf0-023b-4086-96b5-c11f6770f13d" providerId="ADAL" clId="{C79EBADB-BFD3-4A4A-842C-5D0FDEE4FD92}" dt="2020-11-01T20:18:59.867" v="187"/>
          <ac:spMkLst>
            <pc:docMk/>
            <pc:sldMk cId="3928986494" sldId="20831"/>
            <ac:spMk id="81" creationId="{23A0DDA5-2499-46D2-ADBF-A3B8E00795C4}"/>
          </ac:spMkLst>
        </pc:spChg>
        <pc:spChg chg="add del">
          <ac:chgData name="Centurione, Vittorio" userId="4ea74cf0-023b-4086-96b5-c11f6770f13d" providerId="ADAL" clId="{C79EBADB-BFD3-4A4A-842C-5D0FDEE4FD92}" dt="2020-11-01T20:18:59.867" v="187"/>
          <ac:spMkLst>
            <pc:docMk/>
            <pc:sldMk cId="3928986494" sldId="20831"/>
            <ac:spMk id="82" creationId="{019BB693-B27F-4D60-BB82-B81AD8A4B93D}"/>
          </ac:spMkLst>
        </pc:spChg>
        <pc:spChg chg="add del">
          <ac:chgData name="Centurione, Vittorio" userId="4ea74cf0-023b-4086-96b5-c11f6770f13d" providerId="ADAL" clId="{C79EBADB-BFD3-4A4A-842C-5D0FDEE4FD92}" dt="2020-11-01T20:18:59.867" v="187"/>
          <ac:spMkLst>
            <pc:docMk/>
            <pc:sldMk cId="3928986494" sldId="20831"/>
            <ac:spMk id="84" creationId="{CCFA8A05-E4A3-4EB6-A176-D5BB660C834F}"/>
          </ac:spMkLst>
        </pc:spChg>
        <pc:spChg chg="add del">
          <ac:chgData name="Centurione, Vittorio" userId="4ea74cf0-023b-4086-96b5-c11f6770f13d" providerId="ADAL" clId="{C79EBADB-BFD3-4A4A-842C-5D0FDEE4FD92}" dt="2020-11-01T20:18:59.867" v="187"/>
          <ac:spMkLst>
            <pc:docMk/>
            <pc:sldMk cId="3928986494" sldId="20831"/>
            <ac:spMk id="85" creationId="{849C7C65-5E97-4A02-8F76-D50E2A18A56F}"/>
          </ac:spMkLst>
        </pc:spChg>
        <pc:spChg chg="add del">
          <ac:chgData name="Centurione, Vittorio" userId="4ea74cf0-023b-4086-96b5-c11f6770f13d" providerId="ADAL" clId="{C79EBADB-BFD3-4A4A-842C-5D0FDEE4FD92}" dt="2020-11-01T20:18:59.867" v="187"/>
          <ac:spMkLst>
            <pc:docMk/>
            <pc:sldMk cId="3928986494" sldId="20831"/>
            <ac:spMk id="87" creationId="{AE44D314-7260-4BAC-B4B3-9A508E6C9B1D}"/>
          </ac:spMkLst>
        </pc:spChg>
        <pc:spChg chg="add del">
          <ac:chgData name="Centurione, Vittorio" userId="4ea74cf0-023b-4086-96b5-c11f6770f13d" providerId="ADAL" clId="{C79EBADB-BFD3-4A4A-842C-5D0FDEE4FD92}" dt="2020-11-01T20:18:59.867" v="187"/>
          <ac:spMkLst>
            <pc:docMk/>
            <pc:sldMk cId="3928986494" sldId="20831"/>
            <ac:spMk id="88" creationId="{0D84CC07-D3F4-4330-939A-1CD81536B359}"/>
          </ac:spMkLst>
        </pc:spChg>
        <pc:spChg chg="add del">
          <ac:chgData name="Centurione, Vittorio" userId="4ea74cf0-023b-4086-96b5-c11f6770f13d" providerId="ADAL" clId="{C79EBADB-BFD3-4A4A-842C-5D0FDEE4FD92}" dt="2020-11-01T20:18:59.867" v="187"/>
          <ac:spMkLst>
            <pc:docMk/>
            <pc:sldMk cId="3928986494" sldId="20831"/>
            <ac:spMk id="90" creationId="{D3B8AB79-1AFA-47DD-AB98-FF46EC2FFA87}"/>
          </ac:spMkLst>
        </pc:spChg>
        <pc:spChg chg="add del">
          <ac:chgData name="Centurione, Vittorio" userId="4ea74cf0-023b-4086-96b5-c11f6770f13d" providerId="ADAL" clId="{C79EBADB-BFD3-4A4A-842C-5D0FDEE4FD92}" dt="2020-11-01T20:18:59.867" v="187"/>
          <ac:spMkLst>
            <pc:docMk/>
            <pc:sldMk cId="3928986494" sldId="20831"/>
            <ac:spMk id="91" creationId="{07DE7C9C-F98C-4CA5-B5F4-CD71FE1AED36}"/>
          </ac:spMkLst>
        </pc:spChg>
        <pc:spChg chg="add del">
          <ac:chgData name="Centurione, Vittorio" userId="4ea74cf0-023b-4086-96b5-c11f6770f13d" providerId="ADAL" clId="{C79EBADB-BFD3-4A4A-842C-5D0FDEE4FD92}" dt="2020-11-01T20:18:59.867" v="187"/>
          <ac:spMkLst>
            <pc:docMk/>
            <pc:sldMk cId="3928986494" sldId="20831"/>
            <ac:spMk id="93" creationId="{A9D61577-20CF-429B-BA6E-B60CE0D91195}"/>
          </ac:spMkLst>
        </pc:spChg>
        <pc:spChg chg="add del">
          <ac:chgData name="Centurione, Vittorio" userId="4ea74cf0-023b-4086-96b5-c11f6770f13d" providerId="ADAL" clId="{C79EBADB-BFD3-4A4A-842C-5D0FDEE4FD92}" dt="2020-11-01T20:18:59.867" v="187"/>
          <ac:spMkLst>
            <pc:docMk/>
            <pc:sldMk cId="3928986494" sldId="20831"/>
            <ac:spMk id="94" creationId="{97E2CB80-0490-4049-AF71-7DA98698BAA9}"/>
          </ac:spMkLst>
        </pc:spChg>
        <pc:spChg chg="add del">
          <ac:chgData name="Centurione, Vittorio" userId="4ea74cf0-023b-4086-96b5-c11f6770f13d" providerId="ADAL" clId="{C79EBADB-BFD3-4A4A-842C-5D0FDEE4FD92}" dt="2020-11-01T20:18:59.867" v="187"/>
          <ac:spMkLst>
            <pc:docMk/>
            <pc:sldMk cId="3928986494" sldId="20831"/>
            <ac:spMk id="96" creationId="{BEEA58BD-7D81-4813-AEE5-D6457521E3A6}"/>
          </ac:spMkLst>
        </pc:spChg>
        <pc:spChg chg="add del">
          <ac:chgData name="Centurione, Vittorio" userId="4ea74cf0-023b-4086-96b5-c11f6770f13d" providerId="ADAL" clId="{C79EBADB-BFD3-4A4A-842C-5D0FDEE4FD92}" dt="2020-11-01T20:18:59.867" v="187"/>
          <ac:spMkLst>
            <pc:docMk/>
            <pc:sldMk cId="3928986494" sldId="20831"/>
            <ac:spMk id="97" creationId="{19CF158E-76E8-4D69-8ADD-77089CCC8B03}"/>
          </ac:spMkLst>
        </pc:spChg>
        <pc:spChg chg="add del">
          <ac:chgData name="Centurione, Vittorio" userId="4ea74cf0-023b-4086-96b5-c11f6770f13d" providerId="ADAL" clId="{C79EBADB-BFD3-4A4A-842C-5D0FDEE4FD92}" dt="2020-11-01T20:18:59.867" v="187"/>
          <ac:spMkLst>
            <pc:docMk/>
            <pc:sldMk cId="3928986494" sldId="20831"/>
            <ac:spMk id="98" creationId="{4DA30C2C-C63B-46E9-8DEF-9E5464B6283D}"/>
          </ac:spMkLst>
        </pc:spChg>
        <pc:spChg chg="add del">
          <ac:chgData name="Centurione, Vittorio" userId="4ea74cf0-023b-4086-96b5-c11f6770f13d" providerId="ADAL" clId="{C79EBADB-BFD3-4A4A-842C-5D0FDEE4FD92}" dt="2020-11-01T20:18:59.867" v="187"/>
          <ac:spMkLst>
            <pc:docMk/>
            <pc:sldMk cId="3928986494" sldId="20831"/>
            <ac:spMk id="100" creationId="{16934AE0-6BD4-4AC8-8D3C-72B0B593324C}"/>
          </ac:spMkLst>
        </pc:spChg>
        <pc:spChg chg="add del">
          <ac:chgData name="Centurione, Vittorio" userId="4ea74cf0-023b-4086-96b5-c11f6770f13d" providerId="ADAL" clId="{C79EBADB-BFD3-4A4A-842C-5D0FDEE4FD92}" dt="2020-11-01T20:18:59.867" v="187"/>
          <ac:spMkLst>
            <pc:docMk/>
            <pc:sldMk cId="3928986494" sldId="20831"/>
            <ac:spMk id="103" creationId="{0A09B055-E2CA-4F47-B038-69D12B7E6A7F}"/>
          </ac:spMkLst>
        </pc:spChg>
        <pc:spChg chg="mod">
          <ac:chgData name="Centurione, Vittorio" userId="4ea74cf0-023b-4086-96b5-c11f6770f13d" providerId="ADAL" clId="{C79EBADB-BFD3-4A4A-842C-5D0FDEE4FD92}" dt="2020-11-01T20:00:25.240" v="28" actId="1035"/>
          <ac:spMkLst>
            <pc:docMk/>
            <pc:sldMk cId="3928986494" sldId="20831"/>
            <ac:spMk id="145" creationId="{A6442BA2-AB71-4CA8-99C2-393E8717277F}"/>
          </ac:spMkLst>
        </pc:spChg>
        <pc:spChg chg="del">
          <ac:chgData name="Centurione, Vittorio" userId="4ea74cf0-023b-4086-96b5-c11f6770f13d" providerId="ADAL" clId="{C79EBADB-BFD3-4A4A-842C-5D0FDEE4FD92}" dt="2020-11-01T20:00:19.156" v="3" actId="478"/>
          <ac:spMkLst>
            <pc:docMk/>
            <pc:sldMk cId="3928986494" sldId="20831"/>
            <ac:spMk id="146" creationId="{4A7393AF-E932-4AD1-966E-F1CA0CEEF440}"/>
          </ac:spMkLst>
        </pc:spChg>
        <pc:spChg chg="del mod">
          <ac:chgData name="Centurione, Vittorio" userId="4ea74cf0-023b-4086-96b5-c11f6770f13d" providerId="ADAL" clId="{C79EBADB-BFD3-4A4A-842C-5D0FDEE4FD92}" dt="2020-11-01T20:17:54.181" v="54" actId="478"/>
          <ac:spMkLst>
            <pc:docMk/>
            <pc:sldMk cId="3928986494" sldId="20831"/>
            <ac:spMk id="149" creationId="{7E316B85-5305-464A-8BCD-137F772C61BC}"/>
          </ac:spMkLst>
        </pc:spChg>
        <pc:spChg chg="del mod">
          <ac:chgData name="Centurione, Vittorio" userId="4ea74cf0-023b-4086-96b5-c11f6770f13d" providerId="ADAL" clId="{C79EBADB-BFD3-4A4A-842C-5D0FDEE4FD92}" dt="2020-11-01T20:17:54.181" v="54" actId="478"/>
          <ac:spMkLst>
            <pc:docMk/>
            <pc:sldMk cId="3928986494" sldId="20831"/>
            <ac:spMk id="150" creationId="{6CD4646B-91FE-42A5-80DF-487EB5F0BD88}"/>
          </ac:spMkLst>
        </pc:spChg>
        <pc:spChg chg="del mod">
          <ac:chgData name="Centurione, Vittorio" userId="4ea74cf0-023b-4086-96b5-c11f6770f13d" providerId="ADAL" clId="{C79EBADB-BFD3-4A4A-842C-5D0FDEE4FD92}" dt="2020-11-01T20:17:54.181" v="54" actId="478"/>
          <ac:spMkLst>
            <pc:docMk/>
            <pc:sldMk cId="3928986494" sldId="20831"/>
            <ac:spMk id="152" creationId="{626B5B60-A289-418B-BB18-6C07F57CC758}"/>
          </ac:spMkLst>
        </pc:spChg>
        <pc:spChg chg="del mod">
          <ac:chgData name="Centurione, Vittorio" userId="4ea74cf0-023b-4086-96b5-c11f6770f13d" providerId="ADAL" clId="{C79EBADB-BFD3-4A4A-842C-5D0FDEE4FD92}" dt="2020-11-01T20:17:54.181" v="54" actId="478"/>
          <ac:spMkLst>
            <pc:docMk/>
            <pc:sldMk cId="3928986494" sldId="20831"/>
            <ac:spMk id="154" creationId="{15EB33C6-0F26-4CA3-B3C4-49051301898E}"/>
          </ac:spMkLst>
        </pc:spChg>
        <pc:spChg chg="del mod">
          <ac:chgData name="Centurione, Vittorio" userId="4ea74cf0-023b-4086-96b5-c11f6770f13d" providerId="ADAL" clId="{C79EBADB-BFD3-4A4A-842C-5D0FDEE4FD92}" dt="2020-11-01T20:17:54.181" v="54" actId="478"/>
          <ac:spMkLst>
            <pc:docMk/>
            <pc:sldMk cId="3928986494" sldId="20831"/>
            <ac:spMk id="156" creationId="{E0809299-E413-4344-86C1-A05A96E3DD5D}"/>
          </ac:spMkLst>
        </pc:spChg>
        <pc:spChg chg="del mod">
          <ac:chgData name="Centurione, Vittorio" userId="4ea74cf0-023b-4086-96b5-c11f6770f13d" providerId="ADAL" clId="{C79EBADB-BFD3-4A4A-842C-5D0FDEE4FD92}" dt="2020-11-01T20:17:54.181" v="54" actId="478"/>
          <ac:spMkLst>
            <pc:docMk/>
            <pc:sldMk cId="3928986494" sldId="20831"/>
            <ac:spMk id="158" creationId="{3D903E90-FC2E-48BE-B401-EFE1ADE8C595}"/>
          </ac:spMkLst>
        </pc:spChg>
        <pc:spChg chg="del mod">
          <ac:chgData name="Centurione, Vittorio" userId="4ea74cf0-023b-4086-96b5-c11f6770f13d" providerId="ADAL" clId="{C79EBADB-BFD3-4A4A-842C-5D0FDEE4FD92}" dt="2020-11-01T20:17:54.181" v="54" actId="478"/>
          <ac:spMkLst>
            <pc:docMk/>
            <pc:sldMk cId="3928986494" sldId="20831"/>
            <ac:spMk id="160" creationId="{D9BA6DD9-9360-4B2E-9182-0DFF3F022291}"/>
          </ac:spMkLst>
        </pc:spChg>
        <pc:spChg chg="del mod">
          <ac:chgData name="Centurione, Vittorio" userId="4ea74cf0-023b-4086-96b5-c11f6770f13d" providerId="ADAL" clId="{C79EBADB-BFD3-4A4A-842C-5D0FDEE4FD92}" dt="2020-11-01T20:17:54.181" v="54" actId="478"/>
          <ac:spMkLst>
            <pc:docMk/>
            <pc:sldMk cId="3928986494" sldId="20831"/>
            <ac:spMk id="162" creationId="{FF7C308F-04B4-4053-AF61-0945FFC4D1F5}"/>
          </ac:spMkLst>
        </pc:spChg>
        <pc:spChg chg="del mod">
          <ac:chgData name="Centurione, Vittorio" userId="4ea74cf0-023b-4086-96b5-c11f6770f13d" providerId="ADAL" clId="{C79EBADB-BFD3-4A4A-842C-5D0FDEE4FD92}" dt="2020-11-01T20:17:54.181" v="54" actId="478"/>
          <ac:spMkLst>
            <pc:docMk/>
            <pc:sldMk cId="3928986494" sldId="20831"/>
            <ac:spMk id="164" creationId="{76D4B948-036E-4EC1-A459-3E6F0F3A8B5F}"/>
          </ac:spMkLst>
        </pc:spChg>
        <pc:spChg chg="mod">
          <ac:chgData name="Centurione, Vittorio" userId="4ea74cf0-023b-4086-96b5-c11f6770f13d" providerId="ADAL" clId="{C79EBADB-BFD3-4A4A-842C-5D0FDEE4FD92}" dt="2020-11-01T20:18:53.044" v="185" actId="1036"/>
          <ac:spMkLst>
            <pc:docMk/>
            <pc:sldMk cId="3928986494" sldId="20831"/>
            <ac:spMk id="167" creationId="{ECBED6A9-44C3-46CD-8111-1D58CEA602F1}"/>
          </ac:spMkLst>
        </pc:spChg>
        <pc:spChg chg="mod">
          <ac:chgData name="Centurione, Vittorio" userId="4ea74cf0-023b-4086-96b5-c11f6770f13d" providerId="ADAL" clId="{C79EBADB-BFD3-4A4A-842C-5D0FDEE4FD92}" dt="2020-11-01T20:18:53.044" v="185" actId="1036"/>
          <ac:spMkLst>
            <pc:docMk/>
            <pc:sldMk cId="3928986494" sldId="20831"/>
            <ac:spMk id="168" creationId="{4B069A7A-D4DE-4C6A-BAB8-788293FC070E}"/>
          </ac:spMkLst>
        </pc:spChg>
        <pc:spChg chg="del">
          <ac:chgData name="Centurione, Vittorio" userId="4ea74cf0-023b-4086-96b5-c11f6770f13d" providerId="ADAL" clId="{C79EBADB-BFD3-4A4A-842C-5D0FDEE4FD92}" dt="2020-11-01T20:00:10.485" v="1" actId="478"/>
          <ac:spMkLst>
            <pc:docMk/>
            <pc:sldMk cId="3928986494" sldId="20831"/>
            <ac:spMk id="173" creationId="{B94622E1-9C22-48BE-B6A2-31A18B38EC49}"/>
          </ac:spMkLst>
        </pc:spChg>
        <pc:spChg chg="del">
          <ac:chgData name="Centurione, Vittorio" userId="4ea74cf0-023b-4086-96b5-c11f6770f13d" providerId="ADAL" clId="{C79EBADB-BFD3-4A4A-842C-5D0FDEE4FD92}" dt="2020-11-01T20:00:10.485" v="1" actId="478"/>
          <ac:spMkLst>
            <pc:docMk/>
            <pc:sldMk cId="3928986494" sldId="20831"/>
            <ac:spMk id="190" creationId="{6677E445-B794-4287-B7DF-AD30A4402AC8}"/>
          </ac:spMkLst>
        </pc:spChg>
        <pc:spChg chg="del">
          <ac:chgData name="Centurione, Vittorio" userId="4ea74cf0-023b-4086-96b5-c11f6770f13d" providerId="ADAL" clId="{C79EBADB-BFD3-4A4A-842C-5D0FDEE4FD92}" dt="2020-11-01T20:00:10.485" v="1" actId="478"/>
          <ac:spMkLst>
            <pc:docMk/>
            <pc:sldMk cId="3928986494" sldId="20831"/>
            <ac:spMk id="191" creationId="{B3A74D5F-D9E5-4E78-A6CF-824827B83813}"/>
          </ac:spMkLst>
        </pc:spChg>
        <pc:spChg chg="mod">
          <ac:chgData name="Centurione, Vittorio" userId="4ea74cf0-023b-4086-96b5-c11f6770f13d" providerId="ADAL" clId="{C79EBADB-BFD3-4A4A-842C-5D0FDEE4FD92}" dt="2020-11-01T20:18:53.044" v="185" actId="1036"/>
          <ac:spMkLst>
            <pc:docMk/>
            <pc:sldMk cId="3928986494" sldId="20831"/>
            <ac:spMk id="194" creationId="{EEDCBE83-4F07-455C-ADF3-0643B48977D0}"/>
          </ac:spMkLst>
        </pc:spChg>
        <pc:spChg chg="del">
          <ac:chgData name="Centurione, Vittorio" userId="4ea74cf0-023b-4086-96b5-c11f6770f13d" providerId="ADAL" clId="{C79EBADB-BFD3-4A4A-842C-5D0FDEE4FD92}" dt="2020-11-01T20:00:10.485" v="1" actId="478"/>
          <ac:spMkLst>
            <pc:docMk/>
            <pc:sldMk cId="3928986494" sldId="20831"/>
            <ac:spMk id="197" creationId="{D5C8A2AA-7C8A-4D22-8D4D-F5B809F56B03}"/>
          </ac:spMkLst>
        </pc:spChg>
        <pc:spChg chg="del">
          <ac:chgData name="Centurione, Vittorio" userId="4ea74cf0-023b-4086-96b5-c11f6770f13d" providerId="ADAL" clId="{C79EBADB-BFD3-4A4A-842C-5D0FDEE4FD92}" dt="2020-11-01T20:00:10.485" v="1" actId="478"/>
          <ac:spMkLst>
            <pc:docMk/>
            <pc:sldMk cId="3928986494" sldId="20831"/>
            <ac:spMk id="198" creationId="{0EAB9BB7-AED7-446D-B9C3-5DBEB8C1334F}"/>
          </ac:spMkLst>
        </pc:spChg>
        <pc:spChg chg="del">
          <ac:chgData name="Centurione, Vittorio" userId="4ea74cf0-023b-4086-96b5-c11f6770f13d" providerId="ADAL" clId="{C79EBADB-BFD3-4A4A-842C-5D0FDEE4FD92}" dt="2020-11-01T20:00:10.485" v="1" actId="478"/>
          <ac:spMkLst>
            <pc:docMk/>
            <pc:sldMk cId="3928986494" sldId="20831"/>
            <ac:spMk id="199" creationId="{4661A1D9-16EB-4883-9CCE-6A3ED1BF18BC}"/>
          </ac:spMkLst>
        </pc:spChg>
        <pc:spChg chg="del">
          <ac:chgData name="Centurione, Vittorio" userId="4ea74cf0-023b-4086-96b5-c11f6770f13d" providerId="ADAL" clId="{C79EBADB-BFD3-4A4A-842C-5D0FDEE4FD92}" dt="2020-11-01T20:00:10.485" v="1" actId="478"/>
          <ac:spMkLst>
            <pc:docMk/>
            <pc:sldMk cId="3928986494" sldId="20831"/>
            <ac:spMk id="200" creationId="{BB9ABC72-DBF7-4F4F-ADF6-B7F324772BF8}"/>
          </ac:spMkLst>
        </pc:spChg>
        <pc:spChg chg="del">
          <ac:chgData name="Centurione, Vittorio" userId="4ea74cf0-023b-4086-96b5-c11f6770f13d" providerId="ADAL" clId="{C79EBADB-BFD3-4A4A-842C-5D0FDEE4FD92}" dt="2020-11-01T20:00:10.485" v="1" actId="478"/>
          <ac:spMkLst>
            <pc:docMk/>
            <pc:sldMk cId="3928986494" sldId="20831"/>
            <ac:spMk id="201" creationId="{AD364DFB-1AA7-40BC-A135-086AA1BD3D51}"/>
          </ac:spMkLst>
        </pc:spChg>
        <pc:spChg chg="del">
          <ac:chgData name="Centurione, Vittorio" userId="4ea74cf0-023b-4086-96b5-c11f6770f13d" providerId="ADAL" clId="{C79EBADB-BFD3-4A4A-842C-5D0FDEE4FD92}" dt="2020-11-01T20:00:10.485" v="1" actId="478"/>
          <ac:spMkLst>
            <pc:docMk/>
            <pc:sldMk cId="3928986494" sldId="20831"/>
            <ac:spMk id="202" creationId="{CD706E87-28F7-4412-A902-949DF523BAF8}"/>
          </ac:spMkLst>
        </pc:spChg>
        <pc:spChg chg="del">
          <ac:chgData name="Centurione, Vittorio" userId="4ea74cf0-023b-4086-96b5-c11f6770f13d" providerId="ADAL" clId="{C79EBADB-BFD3-4A4A-842C-5D0FDEE4FD92}" dt="2020-11-01T20:00:10.485" v="1" actId="478"/>
          <ac:spMkLst>
            <pc:docMk/>
            <pc:sldMk cId="3928986494" sldId="20831"/>
            <ac:spMk id="203" creationId="{CBEECF4F-229F-4939-8AD4-8A22C63F34C4}"/>
          </ac:spMkLst>
        </pc:spChg>
        <pc:spChg chg="mod">
          <ac:chgData name="Centurione, Vittorio" userId="4ea74cf0-023b-4086-96b5-c11f6770f13d" providerId="ADAL" clId="{C79EBADB-BFD3-4A4A-842C-5D0FDEE4FD92}" dt="2020-11-01T20:18:42.482" v="157" actId="1037"/>
          <ac:spMkLst>
            <pc:docMk/>
            <pc:sldMk cId="3928986494" sldId="20831"/>
            <ac:spMk id="204" creationId="{30ABF63C-E6B2-499F-A447-2CF166DD7EF0}"/>
          </ac:spMkLst>
        </pc:spChg>
        <pc:spChg chg="del">
          <ac:chgData name="Centurione, Vittorio" userId="4ea74cf0-023b-4086-96b5-c11f6770f13d" providerId="ADAL" clId="{C79EBADB-BFD3-4A4A-842C-5D0FDEE4FD92}" dt="2020-11-01T20:00:19.156" v="3" actId="478"/>
          <ac:spMkLst>
            <pc:docMk/>
            <pc:sldMk cId="3928986494" sldId="20831"/>
            <ac:spMk id="205" creationId="{AA401A82-7B53-4BCD-9B93-88762BEFD755}"/>
          </ac:spMkLst>
        </pc:spChg>
        <pc:spChg chg="del">
          <ac:chgData name="Centurione, Vittorio" userId="4ea74cf0-023b-4086-96b5-c11f6770f13d" providerId="ADAL" clId="{C79EBADB-BFD3-4A4A-842C-5D0FDEE4FD92}" dt="2020-11-01T20:00:19.156" v="3" actId="478"/>
          <ac:spMkLst>
            <pc:docMk/>
            <pc:sldMk cId="3928986494" sldId="20831"/>
            <ac:spMk id="206" creationId="{6691968F-61F8-4BAA-BD27-A7712090FE42}"/>
          </ac:spMkLst>
        </pc:spChg>
        <pc:spChg chg="del">
          <ac:chgData name="Centurione, Vittorio" userId="4ea74cf0-023b-4086-96b5-c11f6770f13d" providerId="ADAL" clId="{C79EBADB-BFD3-4A4A-842C-5D0FDEE4FD92}" dt="2020-11-01T20:00:12.831" v="2" actId="478"/>
          <ac:spMkLst>
            <pc:docMk/>
            <pc:sldMk cId="3928986494" sldId="20831"/>
            <ac:spMk id="210" creationId="{DDC30A6A-D451-49D3-B502-78EA25E55E82}"/>
          </ac:spMkLst>
        </pc:spChg>
        <pc:picChg chg="add del">
          <ac:chgData name="Centurione, Vittorio" userId="4ea74cf0-023b-4086-96b5-c11f6770f13d" providerId="ADAL" clId="{C79EBADB-BFD3-4A4A-842C-5D0FDEE4FD92}" dt="2020-11-01T20:19:01.118" v="189"/>
          <ac:picMkLst>
            <pc:docMk/>
            <pc:sldMk cId="3928986494" sldId="20831"/>
            <ac:picMk id="2" creationId="{4739C9DB-6F2B-41E7-BC2F-E3E521897E77}"/>
          </ac:picMkLst>
        </pc:picChg>
        <pc:picChg chg="add del">
          <ac:chgData name="Centurione, Vittorio" userId="4ea74cf0-023b-4086-96b5-c11f6770f13d" providerId="ADAL" clId="{C79EBADB-BFD3-4A4A-842C-5D0FDEE4FD92}" dt="2020-11-01T20:18:59.867" v="187"/>
          <ac:picMkLst>
            <pc:docMk/>
            <pc:sldMk cId="3928986494" sldId="20831"/>
            <ac:picMk id="74" creationId="{58A28243-C222-487A-BA98-EA3BBB2E5EFF}"/>
          </ac:picMkLst>
        </pc:picChg>
        <pc:picChg chg="add del">
          <ac:chgData name="Centurione, Vittorio" userId="4ea74cf0-023b-4086-96b5-c11f6770f13d" providerId="ADAL" clId="{C79EBADB-BFD3-4A4A-842C-5D0FDEE4FD92}" dt="2020-11-01T20:18:59.867" v="187"/>
          <ac:picMkLst>
            <pc:docMk/>
            <pc:sldMk cId="3928986494" sldId="20831"/>
            <ac:picMk id="75" creationId="{64FED14A-5631-42EB-8084-E9EAE303B23D}"/>
          </ac:picMkLst>
        </pc:picChg>
        <pc:picChg chg="add del">
          <ac:chgData name="Centurione, Vittorio" userId="4ea74cf0-023b-4086-96b5-c11f6770f13d" providerId="ADAL" clId="{C79EBADB-BFD3-4A4A-842C-5D0FDEE4FD92}" dt="2020-11-01T20:18:59.867" v="187"/>
          <ac:picMkLst>
            <pc:docMk/>
            <pc:sldMk cId="3928986494" sldId="20831"/>
            <ac:picMk id="76" creationId="{6B25FA33-2FC8-4029-AD9F-AE64A9AF349C}"/>
          </ac:picMkLst>
        </pc:picChg>
        <pc:picChg chg="add del">
          <ac:chgData name="Centurione, Vittorio" userId="4ea74cf0-023b-4086-96b5-c11f6770f13d" providerId="ADAL" clId="{C79EBADB-BFD3-4A4A-842C-5D0FDEE4FD92}" dt="2020-11-01T20:18:59.867" v="187"/>
          <ac:picMkLst>
            <pc:docMk/>
            <pc:sldMk cId="3928986494" sldId="20831"/>
            <ac:picMk id="77" creationId="{2948C586-97C5-4172-AE84-382EEC4EE5CA}"/>
          </ac:picMkLst>
        </pc:picChg>
        <pc:picChg chg="add del">
          <ac:chgData name="Centurione, Vittorio" userId="4ea74cf0-023b-4086-96b5-c11f6770f13d" providerId="ADAL" clId="{C79EBADB-BFD3-4A4A-842C-5D0FDEE4FD92}" dt="2020-11-01T20:18:59.867" v="187"/>
          <ac:picMkLst>
            <pc:docMk/>
            <pc:sldMk cId="3928986494" sldId="20831"/>
            <ac:picMk id="78" creationId="{2BB6512E-428E-47C6-93F4-A726220F5B97}"/>
          </ac:picMkLst>
        </pc:picChg>
        <pc:picChg chg="add del">
          <ac:chgData name="Centurione, Vittorio" userId="4ea74cf0-023b-4086-96b5-c11f6770f13d" providerId="ADAL" clId="{C79EBADB-BFD3-4A4A-842C-5D0FDEE4FD92}" dt="2020-11-01T20:18:59.867" v="187"/>
          <ac:picMkLst>
            <pc:docMk/>
            <pc:sldMk cId="3928986494" sldId="20831"/>
            <ac:picMk id="83" creationId="{D327273A-7E3E-4601-B13A-FAA118C19592}"/>
          </ac:picMkLst>
        </pc:picChg>
        <pc:picChg chg="add del">
          <ac:chgData name="Centurione, Vittorio" userId="4ea74cf0-023b-4086-96b5-c11f6770f13d" providerId="ADAL" clId="{C79EBADB-BFD3-4A4A-842C-5D0FDEE4FD92}" dt="2020-11-01T20:18:59.867" v="187"/>
          <ac:picMkLst>
            <pc:docMk/>
            <pc:sldMk cId="3928986494" sldId="20831"/>
            <ac:picMk id="86" creationId="{85CD640B-4412-4E80-B894-F2BC389D552E}"/>
          </ac:picMkLst>
        </pc:picChg>
        <pc:picChg chg="add del">
          <ac:chgData name="Centurione, Vittorio" userId="4ea74cf0-023b-4086-96b5-c11f6770f13d" providerId="ADAL" clId="{C79EBADB-BFD3-4A4A-842C-5D0FDEE4FD92}" dt="2020-11-01T20:18:59.867" v="187"/>
          <ac:picMkLst>
            <pc:docMk/>
            <pc:sldMk cId="3928986494" sldId="20831"/>
            <ac:picMk id="89" creationId="{B68D1E6C-E30C-4954-B492-1E267F6775A8}"/>
          </ac:picMkLst>
        </pc:picChg>
        <pc:picChg chg="add del">
          <ac:chgData name="Centurione, Vittorio" userId="4ea74cf0-023b-4086-96b5-c11f6770f13d" providerId="ADAL" clId="{C79EBADB-BFD3-4A4A-842C-5D0FDEE4FD92}" dt="2020-11-01T20:18:59.867" v="187"/>
          <ac:picMkLst>
            <pc:docMk/>
            <pc:sldMk cId="3928986494" sldId="20831"/>
            <ac:picMk id="92" creationId="{9E84C5DC-CCB4-4353-A882-8460A49E900F}"/>
          </ac:picMkLst>
        </pc:picChg>
        <pc:picChg chg="add del">
          <ac:chgData name="Centurione, Vittorio" userId="4ea74cf0-023b-4086-96b5-c11f6770f13d" providerId="ADAL" clId="{C79EBADB-BFD3-4A4A-842C-5D0FDEE4FD92}" dt="2020-11-01T20:18:59.867" v="187"/>
          <ac:picMkLst>
            <pc:docMk/>
            <pc:sldMk cId="3928986494" sldId="20831"/>
            <ac:picMk id="95" creationId="{CE359980-0B56-4C05-BA6C-45A7759DD7FB}"/>
          </ac:picMkLst>
        </pc:picChg>
        <pc:picChg chg="add del">
          <ac:chgData name="Centurione, Vittorio" userId="4ea74cf0-023b-4086-96b5-c11f6770f13d" providerId="ADAL" clId="{C79EBADB-BFD3-4A4A-842C-5D0FDEE4FD92}" dt="2020-11-01T20:18:59.867" v="187"/>
          <ac:picMkLst>
            <pc:docMk/>
            <pc:sldMk cId="3928986494" sldId="20831"/>
            <ac:picMk id="99" creationId="{FA46BFC2-69E7-4968-815C-DE8D95F3E83E}"/>
          </ac:picMkLst>
        </pc:picChg>
        <pc:picChg chg="add del">
          <ac:chgData name="Centurione, Vittorio" userId="4ea74cf0-023b-4086-96b5-c11f6770f13d" providerId="ADAL" clId="{C79EBADB-BFD3-4A4A-842C-5D0FDEE4FD92}" dt="2020-11-01T20:18:59.867" v="187"/>
          <ac:picMkLst>
            <pc:docMk/>
            <pc:sldMk cId="3928986494" sldId="20831"/>
            <ac:picMk id="101" creationId="{B6E6DB62-614C-4B1F-9F4A-EB88EF13D05C}"/>
          </ac:picMkLst>
        </pc:picChg>
        <pc:picChg chg="add del">
          <ac:chgData name="Centurione, Vittorio" userId="4ea74cf0-023b-4086-96b5-c11f6770f13d" providerId="ADAL" clId="{C79EBADB-BFD3-4A4A-842C-5D0FDEE4FD92}" dt="2020-11-01T20:18:59.867" v="187"/>
          <ac:picMkLst>
            <pc:docMk/>
            <pc:sldMk cId="3928986494" sldId="20831"/>
            <ac:picMk id="104" creationId="{6CD015DA-D145-406E-94CF-4323192D42EF}"/>
          </ac:picMkLst>
        </pc:picChg>
        <pc:picChg chg="mod modCrop">
          <ac:chgData name="Centurione, Vittorio" userId="4ea74cf0-023b-4086-96b5-c11f6770f13d" providerId="ADAL" clId="{C79EBADB-BFD3-4A4A-842C-5D0FDEE4FD92}" dt="2020-11-01T20:18:18.752" v="95" actId="732"/>
          <ac:picMkLst>
            <pc:docMk/>
            <pc:sldMk cId="3928986494" sldId="20831"/>
            <ac:picMk id="140" creationId="{14670878-0AAB-4A9D-97CE-A0C9053F5C74}"/>
          </ac:picMkLst>
        </pc:picChg>
        <pc:picChg chg="mod">
          <ac:chgData name="Centurione, Vittorio" userId="4ea74cf0-023b-4086-96b5-c11f6770f13d" providerId="ADAL" clId="{C79EBADB-BFD3-4A4A-842C-5D0FDEE4FD92}" dt="2020-11-01T20:18:27.504" v="110" actId="1038"/>
          <ac:picMkLst>
            <pc:docMk/>
            <pc:sldMk cId="3928986494" sldId="20831"/>
            <ac:picMk id="144" creationId="{3C8FD4DA-446C-4B8E-8268-F0E0157E189E}"/>
          </ac:picMkLst>
        </pc:picChg>
        <pc:picChg chg="del mod">
          <ac:chgData name="Centurione, Vittorio" userId="4ea74cf0-023b-4086-96b5-c11f6770f13d" providerId="ADAL" clId="{C79EBADB-BFD3-4A4A-842C-5D0FDEE4FD92}" dt="2020-11-01T20:17:54.181" v="54" actId="478"/>
          <ac:picMkLst>
            <pc:docMk/>
            <pc:sldMk cId="3928986494" sldId="20831"/>
            <ac:picMk id="148" creationId="{327CF5B2-2F53-4C88-BF81-ABEA95E4C2BD}"/>
          </ac:picMkLst>
        </pc:picChg>
        <pc:picChg chg="del mod">
          <ac:chgData name="Centurione, Vittorio" userId="4ea74cf0-023b-4086-96b5-c11f6770f13d" providerId="ADAL" clId="{C79EBADB-BFD3-4A4A-842C-5D0FDEE4FD92}" dt="2020-11-01T20:17:54.181" v="54" actId="478"/>
          <ac:picMkLst>
            <pc:docMk/>
            <pc:sldMk cId="3928986494" sldId="20831"/>
            <ac:picMk id="151" creationId="{9AB0B0B2-EAC3-4C1B-9258-E73BEDF98836}"/>
          </ac:picMkLst>
        </pc:picChg>
        <pc:picChg chg="del mod">
          <ac:chgData name="Centurione, Vittorio" userId="4ea74cf0-023b-4086-96b5-c11f6770f13d" providerId="ADAL" clId="{C79EBADB-BFD3-4A4A-842C-5D0FDEE4FD92}" dt="2020-11-01T20:17:54.181" v="54" actId="478"/>
          <ac:picMkLst>
            <pc:docMk/>
            <pc:sldMk cId="3928986494" sldId="20831"/>
            <ac:picMk id="153" creationId="{CE94D96D-9CB2-4B19-A81C-AE0BE91811E9}"/>
          </ac:picMkLst>
        </pc:picChg>
        <pc:picChg chg="del mod">
          <ac:chgData name="Centurione, Vittorio" userId="4ea74cf0-023b-4086-96b5-c11f6770f13d" providerId="ADAL" clId="{C79EBADB-BFD3-4A4A-842C-5D0FDEE4FD92}" dt="2020-11-01T20:17:54.181" v="54" actId="478"/>
          <ac:picMkLst>
            <pc:docMk/>
            <pc:sldMk cId="3928986494" sldId="20831"/>
            <ac:picMk id="155" creationId="{6989B85F-8C19-45A0-86A2-111E5ED6A0FF}"/>
          </ac:picMkLst>
        </pc:picChg>
        <pc:picChg chg="del mod">
          <ac:chgData name="Centurione, Vittorio" userId="4ea74cf0-023b-4086-96b5-c11f6770f13d" providerId="ADAL" clId="{C79EBADB-BFD3-4A4A-842C-5D0FDEE4FD92}" dt="2020-11-01T20:17:54.181" v="54" actId="478"/>
          <ac:picMkLst>
            <pc:docMk/>
            <pc:sldMk cId="3928986494" sldId="20831"/>
            <ac:picMk id="157" creationId="{4A6C6C5F-2D8C-4A2E-8B24-990C50FF075E}"/>
          </ac:picMkLst>
        </pc:picChg>
        <pc:picChg chg="del mod">
          <ac:chgData name="Centurione, Vittorio" userId="4ea74cf0-023b-4086-96b5-c11f6770f13d" providerId="ADAL" clId="{C79EBADB-BFD3-4A4A-842C-5D0FDEE4FD92}" dt="2020-11-01T20:17:54.181" v="54" actId="478"/>
          <ac:picMkLst>
            <pc:docMk/>
            <pc:sldMk cId="3928986494" sldId="20831"/>
            <ac:picMk id="159" creationId="{E6CBA987-B11F-4D91-A32E-01F9FC9FC978}"/>
          </ac:picMkLst>
        </pc:picChg>
        <pc:picChg chg="del mod">
          <ac:chgData name="Centurione, Vittorio" userId="4ea74cf0-023b-4086-96b5-c11f6770f13d" providerId="ADAL" clId="{C79EBADB-BFD3-4A4A-842C-5D0FDEE4FD92}" dt="2020-11-01T20:17:54.181" v="54" actId="478"/>
          <ac:picMkLst>
            <pc:docMk/>
            <pc:sldMk cId="3928986494" sldId="20831"/>
            <ac:picMk id="161" creationId="{571FA955-E4EC-4F69-B393-A2E96B5AA2E3}"/>
          </ac:picMkLst>
        </pc:picChg>
        <pc:picChg chg="del mod">
          <ac:chgData name="Centurione, Vittorio" userId="4ea74cf0-023b-4086-96b5-c11f6770f13d" providerId="ADAL" clId="{C79EBADB-BFD3-4A4A-842C-5D0FDEE4FD92}" dt="2020-11-01T20:17:54.181" v="54" actId="478"/>
          <ac:picMkLst>
            <pc:docMk/>
            <pc:sldMk cId="3928986494" sldId="20831"/>
            <ac:picMk id="163" creationId="{CD88856D-948B-44F1-AE91-7A26BACD5D67}"/>
          </ac:picMkLst>
        </pc:picChg>
        <pc:picChg chg="del mod">
          <ac:chgData name="Centurione, Vittorio" userId="4ea74cf0-023b-4086-96b5-c11f6770f13d" providerId="ADAL" clId="{C79EBADB-BFD3-4A4A-842C-5D0FDEE4FD92}" dt="2020-11-01T20:17:54.181" v="54" actId="478"/>
          <ac:picMkLst>
            <pc:docMk/>
            <pc:sldMk cId="3928986494" sldId="20831"/>
            <ac:picMk id="165" creationId="{DD1FACB4-5C77-4A28-8AD3-832DC9449A61}"/>
          </ac:picMkLst>
        </pc:picChg>
        <pc:picChg chg="del mod">
          <ac:chgData name="Centurione, Vittorio" userId="4ea74cf0-023b-4086-96b5-c11f6770f13d" providerId="ADAL" clId="{C79EBADB-BFD3-4A4A-842C-5D0FDEE4FD92}" dt="2020-11-01T20:17:54.181" v="54" actId="478"/>
          <ac:picMkLst>
            <pc:docMk/>
            <pc:sldMk cId="3928986494" sldId="20831"/>
            <ac:picMk id="166" creationId="{69CEA8F3-5132-4EEA-AD0A-EE27D8594256}"/>
          </ac:picMkLst>
        </pc:picChg>
        <pc:picChg chg="mod">
          <ac:chgData name="Centurione, Vittorio" userId="4ea74cf0-023b-4086-96b5-c11f6770f13d" providerId="ADAL" clId="{C79EBADB-BFD3-4A4A-842C-5D0FDEE4FD92}" dt="2020-11-01T20:18:53.044" v="185" actId="1036"/>
          <ac:picMkLst>
            <pc:docMk/>
            <pc:sldMk cId="3928986494" sldId="20831"/>
            <ac:picMk id="169" creationId="{E5AC604C-72F8-45E8-9C29-9AC518A2720F}"/>
          </ac:picMkLst>
        </pc:picChg>
        <pc:picChg chg="del">
          <ac:chgData name="Centurione, Vittorio" userId="4ea74cf0-023b-4086-96b5-c11f6770f13d" providerId="ADAL" clId="{C79EBADB-BFD3-4A4A-842C-5D0FDEE4FD92}" dt="2020-11-01T20:00:10.485" v="1" actId="478"/>
          <ac:picMkLst>
            <pc:docMk/>
            <pc:sldMk cId="3928986494" sldId="20831"/>
            <ac:picMk id="172" creationId="{E94935A2-ADEE-4589-8995-A1C266AC9D52}"/>
          </ac:picMkLst>
        </pc:picChg>
        <pc:picChg chg="mod">
          <ac:chgData name="Centurione, Vittorio" userId="4ea74cf0-023b-4086-96b5-c11f6770f13d" providerId="ADAL" clId="{C79EBADB-BFD3-4A4A-842C-5D0FDEE4FD92}" dt="2020-11-01T20:00:29.321" v="29" actId="108"/>
          <ac:picMkLst>
            <pc:docMk/>
            <pc:sldMk cId="3928986494" sldId="20831"/>
            <ac:picMk id="174" creationId="{AFF43340-3EC7-4876-980F-9299E52F2BFF}"/>
          </ac:picMkLst>
        </pc:picChg>
        <pc:picChg chg="del">
          <ac:chgData name="Centurione, Vittorio" userId="4ea74cf0-023b-4086-96b5-c11f6770f13d" providerId="ADAL" clId="{C79EBADB-BFD3-4A4A-842C-5D0FDEE4FD92}" dt="2020-11-01T20:00:10.485" v="1" actId="478"/>
          <ac:picMkLst>
            <pc:docMk/>
            <pc:sldMk cId="3928986494" sldId="20831"/>
            <ac:picMk id="177" creationId="{BA24E315-2CF1-49F7-8AE4-4CAB5DB9DDC2}"/>
          </ac:picMkLst>
        </pc:picChg>
        <pc:picChg chg="del">
          <ac:chgData name="Centurione, Vittorio" userId="4ea74cf0-023b-4086-96b5-c11f6770f13d" providerId="ADAL" clId="{C79EBADB-BFD3-4A4A-842C-5D0FDEE4FD92}" dt="2020-11-01T20:00:10.485" v="1" actId="478"/>
          <ac:picMkLst>
            <pc:docMk/>
            <pc:sldMk cId="3928986494" sldId="20831"/>
            <ac:picMk id="178" creationId="{C7D3ED65-D8C0-4DEA-84BD-10F7F19E0A34}"/>
          </ac:picMkLst>
        </pc:picChg>
        <pc:picChg chg="del">
          <ac:chgData name="Centurione, Vittorio" userId="4ea74cf0-023b-4086-96b5-c11f6770f13d" providerId="ADAL" clId="{C79EBADB-BFD3-4A4A-842C-5D0FDEE4FD92}" dt="2020-11-01T20:00:10.485" v="1" actId="478"/>
          <ac:picMkLst>
            <pc:docMk/>
            <pc:sldMk cId="3928986494" sldId="20831"/>
            <ac:picMk id="185" creationId="{BCF40E4B-35FF-49C3-BA0C-67D57B465E67}"/>
          </ac:picMkLst>
        </pc:picChg>
        <pc:picChg chg="del">
          <ac:chgData name="Centurione, Vittorio" userId="4ea74cf0-023b-4086-96b5-c11f6770f13d" providerId="ADAL" clId="{C79EBADB-BFD3-4A4A-842C-5D0FDEE4FD92}" dt="2020-11-01T20:00:10.485" v="1" actId="478"/>
          <ac:picMkLst>
            <pc:docMk/>
            <pc:sldMk cId="3928986494" sldId="20831"/>
            <ac:picMk id="189" creationId="{AE6E3F24-4E6C-4154-BF26-E6C25E1A2E14}"/>
          </ac:picMkLst>
        </pc:picChg>
        <pc:picChg chg="del">
          <ac:chgData name="Centurione, Vittorio" userId="4ea74cf0-023b-4086-96b5-c11f6770f13d" providerId="ADAL" clId="{C79EBADB-BFD3-4A4A-842C-5D0FDEE4FD92}" dt="2020-11-01T20:18:10.580" v="94" actId="478"/>
          <ac:picMkLst>
            <pc:docMk/>
            <pc:sldMk cId="3928986494" sldId="20831"/>
            <ac:picMk id="207" creationId="{572F83FE-5D35-4EB0-830C-4A4091716F86}"/>
          </ac:picMkLst>
        </pc:picChg>
        <pc:picChg chg="mod">
          <ac:chgData name="Centurione, Vittorio" userId="4ea74cf0-023b-4086-96b5-c11f6770f13d" providerId="ADAL" clId="{C79EBADB-BFD3-4A4A-842C-5D0FDEE4FD92}" dt="2020-11-01T20:18:27.504" v="110" actId="1038"/>
          <ac:picMkLst>
            <pc:docMk/>
            <pc:sldMk cId="3928986494" sldId="20831"/>
            <ac:picMk id="208" creationId="{0037E4A8-EA46-4A82-89D0-693EBBD2E737}"/>
          </ac:picMkLst>
        </pc:picChg>
        <pc:cxnChg chg="add del">
          <ac:chgData name="Centurione, Vittorio" userId="4ea74cf0-023b-4086-96b5-c11f6770f13d" providerId="ADAL" clId="{C79EBADB-BFD3-4A4A-842C-5D0FDEE4FD92}" dt="2020-11-01T20:18:59.867" v="187"/>
          <ac:cxnSpMkLst>
            <pc:docMk/>
            <pc:sldMk cId="3928986494" sldId="20831"/>
            <ac:cxnSpMk id="80" creationId="{D936772D-678F-4D4E-8853-14D0443DA982}"/>
          </ac:cxnSpMkLst>
        </pc:cxnChg>
        <pc:cxnChg chg="add del">
          <ac:chgData name="Centurione, Vittorio" userId="4ea74cf0-023b-4086-96b5-c11f6770f13d" providerId="ADAL" clId="{C79EBADB-BFD3-4A4A-842C-5D0FDEE4FD92}" dt="2020-11-01T20:18:59.867" v="187"/>
          <ac:cxnSpMkLst>
            <pc:docMk/>
            <pc:sldMk cId="3928986494" sldId="20831"/>
            <ac:cxnSpMk id="102" creationId="{C715594A-D9F3-426F-A326-71B1ED52DBB6}"/>
          </ac:cxnSpMkLst>
        </pc:cxnChg>
        <pc:cxnChg chg="mod">
          <ac:chgData name="Centurione, Vittorio" userId="4ea74cf0-023b-4086-96b5-c11f6770f13d" providerId="ADAL" clId="{C79EBADB-BFD3-4A4A-842C-5D0FDEE4FD92}" dt="2020-11-01T20:18:36.567" v="132" actId="14100"/>
          <ac:cxnSpMkLst>
            <pc:docMk/>
            <pc:sldMk cId="3928986494" sldId="20831"/>
            <ac:cxnSpMk id="147" creationId="{A95A9900-03A7-485C-962D-3C7858472E6A}"/>
          </ac:cxnSpMkLst>
        </pc:cxnChg>
        <pc:cxnChg chg="mod">
          <ac:chgData name="Centurione, Vittorio" userId="4ea74cf0-023b-4086-96b5-c11f6770f13d" providerId="ADAL" clId="{C79EBADB-BFD3-4A4A-842C-5D0FDEE4FD92}" dt="2020-11-01T20:18:07.336" v="93" actId="1037"/>
          <ac:cxnSpMkLst>
            <pc:docMk/>
            <pc:sldMk cId="3928986494" sldId="20831"/>
            <ac:cxnSpMk id="196" creationId="{57AD4F84-C0BF-48C9-8BBC-F1CE6D02CBBE}"/>
          </ac:cxnSpMkLst>
        </pc:cxnChg>
      </pc:sldChg>
      <pc:sldChg chg="addSp delSp modSp add">
        <pc:chgData name="Centurione, Vittorio" userId="4ea74cf0-023b-4086-96b5-c11f6770f13d" providerId="ADAL" clId="{C79EBADB-BFD3-4A4A-842C-5D0FDEE4FD92}" dt="2020-11-03T12:11:44.712" v="599" actId="1036"/>
        <pc:sldMkLst>
          <pc:docMk/>
          <pc:sldMk cId="1284562330" sldId="20832"/>
        </pc:sldMkLst>
        <pc:spChg chg="del">
          <ac:chgData name="Centurione, Vittorio" userId="4ea74cf0-023b-4086-96b5-c11f6770f13d" providerId="ADAL" clId="{C79EBADB-BFD3-4A4A-842C-5D0FDEE4FD92}" dt="2020-11-03T12:08:01.407" v="466" actId="478"/>
          <ac:spMkLst>
            <pc:docMk/>
            <pc:sldMk cId="1284562330" sldId="20832"/>
            <ac:spMk id="4" creationId="{7F507676-C992-42FD-97B6-42EE4294CAD3}"/>
          </ac:spMkLst>
        </pc:spChg>
        <pc:spChg chg="del">
          <ac:chgData name="Centurione, Vittorio" userId="4ea74cf0-023b-4086-96b5-c11f6770f13d" providerId="ADAL" clId="{C79EBADB-BFD3-4A4A-842C-5D0FDEE4FD92}" dt="2020-11-03T11:27:17.705" v="211" actId="478"/>
          <ac:spMkLst>
            <pc:docMk/>
            <pc:sldMk cId="1284562330" sldId="20832"/>
            <ac:spMk id="6" creationId="{3ED98BE0-A064-46A2-801D-3B8DC7BE48AC}"/>
          </ac:spMkLst>
        </pc:spChg>
        <pc:spChg chg="mod">
          <ac:chgData name="Centurione, Vittorio" userId="4ea74cf0-023b-4086-96b5-c11f6770f13d" providerId="ADAL" clId="{C79EBADB-BFD3-4A4A-842C-5D0FDEE4FD92}" dt="2020-11-03T12:09:03.014" v="529" actId="113"/>
          <ac:spMkLst>
            <pc:docMk/>
            <pc:sldMk cId="1284562330" sldId="20832"/>
            <ac:spMk id="10" creationId="{C09AE13A-46E8-4CFA-A1B9-0D1FDA1E63A4}"/>
          </ac:spMkLst>
        </pc:spChg>
        <pc:spChg chg="mod">
          <ac:chgData name="Centurione, Vittorio" userId="4ea74cf0-023b-4086-96b5-c11f6770f13d" providerId="ADAL" clId="{C79EBADB-BFD3-4A4A-842C-5D0FDEE4FD92}" dt="2020-11-03T12:09:57.748" v="565" actId="20577"/>
          <ac:spMkLst>
            <pc:docMk/>
            <pc:sldMk cId="1284562330" sldId="20832"/>
            <ac:spMk id="15" creationId="{D0ACAB5F-D849-418E-9B44-0C2B002A1D52}"/>
          </ac:spMkLst>
        </pc:spChg>
        <pc:spChg chg="mod">
          <ac:chgData name="Centurione, Vittorio" userId="4ea74cf0-023b-4086-96b5-c11f6770f13d" providerId="ADAL" clId="{C79EBADB-BFD3-4A4A-842C-5D0FDEE4FD92}" dt="2020-11-03T12:09:42.989" v="560" actId="113"/>
          <ac:spMkLst>
            <pc:docMk/>
            <pc:sldMk cId="1284562330" sldId="20832"/>
            <ac:spMk id="16" creationId="{9BD08DC3-E242-4DE5-AE77-8BBA34CF9174}"/>
          </ac:spMkLst>
        </pc:spChg>
        <pc:spChg chg="del">
          <ac:chgData name="Centurione, Vittorio" userId="4ea74cf0-023b-4086-96b5-c11f6770f13d" providerId="ADAL" clId="{C79EBADB-BFD3-4A4A-842C-5D0FDEE4FD92}" dt="2020-11-03T11:27:17.705" v="211" actId="478"/>
          <ac:spMkLst>
            <pc:docMk/>
            <pc:sldMk cId="1284562330" sldId="20832"/>
            <ac:spMk id="19" creationId="{415C528D-3E41-4F1B-9646-7F398EEF2FA3}"/>
          </ac:spMkLst>
        </pc:spChg>
        <pc:spChg chg="del">
          <ac:chgData name="Centurione, Vittorio" userId="4ea74cf0-023b-4086-96b5-c11f6770f13d" providerId="ADAL" clId="{C79EBADB-BFD3-4A4A-842C-5D0FDEE4FD92}" dt="2020-11-03T11:27:17.705" v="211" actId="478"/>
          <ac:spMkLst>
            <pc:docMk/>
            <pc:sldMk cId="1284562330" sldId="20832"/>
            <ac:spMk id="20" creationId="{70E56805-9CA0-4418-A857-226102879741}"/>
          </ac:spMkLst>
        </pc:spChg>
        <pc:spChg chg="del">
          <ac:chgData name="Centurione, Vittorio" userId="4ea74cf0-023b-4086-96b5-c11f6770f13d" providerId="ADAL" clId="{C79EBADB-BFD3-4A4A-842C-5D0FDEE4FD92}" dt="2020-11-03T11:27:17.705" v="211" actId="478"/>
          <ac:spMkLst>
            <pc:docMk/>
            <pc:sldMk cId="1284562330" sldId="20832"/>
            <ac:spMk id="21" creationId="{793A5DDA-BFBE-4122-B64A-1D26B78D9ACE}"/>
          </ac:spMkLst>
        </pc:spChg>
        <pc:spChg chg="del">
          <ac:chgData name="Centurione, Vittorio" userId="4ea74cf0-023b-4086-96b5-c11f6770f13d" providerId="ADAL" clId="{C79EBADB-BFD3-4A4A-842C-5D0FDEE4FD92}" dt="2020-11-03T11:27:17.705" v="211" actId="478"/>
          <ac:spMkLst>
            <pc:docMk/>
            <pc:sldMk cId="1284562330" sldId="20832"/>
            <ac:spMk id="22" creationId="{1A193F1C-099B-4CD7-9A7F-EF87B1DA0BA7}"/>
          </ac:spMkLst>
        </pc:spChg>
        <pc:spChg chg="mod">
          <ac:chgData name="Centurione, Vittorio" userId="4ea74cf0-023b-4086-96b5-c11f6770f13d" providerId="ADAL" clId="{C79EBADB-BFD3-4A4A-842C-5D0FDEE4FD92}" dt="2020-11-03T12:11:44.712" v="599" actId="1036"/>
          <ac:spMkLst>
            <pc:docMk/>
            <pc:sldMk cId="1284562330" sldId="20832"/>
            <ac:spMk id="23" creationId="{C677326A-EF9B-49C3-A16E-231A1ABBF18B}"/>
          </ac:spMkLst>
        </pc:spChg>
        <pc:spChg chg="mod">
          <ac:chgData name="Centurione, Vittorio" userId="4ea74cf0-023b-4086-96b5-c11f6770f13d" providerId="ADAL" clId="{C79EBADB-BFD3-4A4A-842C-5D0FDEE4FD92}" dt="2020-11-03T12:11:44.712" v="599" actId="1036"/>
          <ac:spMkLst>
            <pc:docMk/>
            <pc:sldMk cId="1284562330" sldId="20832"/>
            <ac:spMk id="25" creationId="{C9776A89-22DA-498B-AFF9-C3B3B4DC7658}"/>
          </ac:spMkLst>
        </pc:spChg>
        <pc:spChg chg="del">
          <ac:chgData name="Centurione, Vittorio" userId="4ea74cf0-023b-4086-96b5-c11f6770f13d" providerId="ADAL" clId="{C79EBADB-BFD3-4A4A-842C-5D0FDEE4FD92}" dt="2020-11-03T11:27:17.705" v="211" actId="478"/>
          <ac:spMkLst>
            <pc:docMk/>
            <pc:sldMk cId="1284562330" sldId="20832"/>
            <ac:spMk id="26" creationId="{166EF201-5AAC-4F16-A713-A403AE9ADBCA}"/>
          </ac:spMkLst>
        </pc:spChg>
        <pc:spChg chg="mod">
          <ac:chgData name="Centurione, Vittorio" userId="4ea74cf0-023b-4086-96b5-c11f6770f13d" providerId="ADAL" clId="{C79EBADB-BFD3-4A4A-842C-5D0FDEE4FD92}" dt="2020-11-03T12:08:04.496" v="487" actId="1035"/>
          <ac:spMkLst>
            <pc:docMk/>
            <pc:sldMk cId="1284562330" sldId="20832"/>
            <ac:spMk id="27" creationId="{08E76497-FF8D-45A0-A2EE-9A535F0797D4}"/>
          </ac:spMkLst>
        </pc:spChg>
        <pc:spChg chg="add mod">
          <ac:chgData name="Centurione, Vittorio" userId="4ea74cf0-023b-4086-96b5-c11f6770f13d" providerId="ADAL" clId="{C79EBADB-BFD3-4A4A-842C-5D0FDEE4FD92}" dt="2020-11-03T12:11:44.712" v="599" actId="1036"/>
          <ac:spMkLst>
            <pc:docMk/>
            <pc:sldMk cId="1284562330" sldId="20832"/>
            <ac:spMk id="29" creationId="{5DA8D233-A276-4F51-AB14-0DD6CBD7CEF1}"/>
          </ac:spMkLst>
        </pc:spChg>
        <pc:grpChg chg="mod">
          <ac:chgData name="Centurione, Vittorio" userId="4ea74cf0-023b-4086-96b5-c11f6770f13d" providerId="ADAL" clId="{C79EBADB-BFD3-4A4A-842C-5D0FDEE4FD92}" dt="2020-11-03T12:11:44.712" v="599" actId="1036"/>
          <ac:grpSpMkLst>
            <pc:docMk/>
            <pc:sldMk cId="1284562330" sldId="20832"/>
            <ac:grpSpMk id="7" creationId="{E030C60B-7A9D-408F-AF4C-D4A131822382}"/>
          </ac:grpSpMkLst>
        </pc:grpChg>
        <pc:grpChg chg="mod">
          <ac:chgData name="Centurione, Vittorio" userId="4ea74cf0-023b-4086-96b5-c11f6770f13d" providerId="ADAL" clId="{C79EBADB-BFD3-4A4A-842C-5D0FDEE4FD92}" dt="2020-11-03T12:11:44.712" v="599" actId="1036"/>
          <ac:grpSpMkLst>
            <pc:docMk/>
            <pc:sldMk cId="1284562330" sldId="20832"/>
            <ac:grpSpMk id="13" creationId="{34B8C1B1-BA80-4441-AD3C-8F87F0372AD1}"/>
          </ac:grpSpMkLst>
        </pc:grpChg>
        <pc:picChg chg="add del">
          <ac:chgData name="Centurione, Vittorio" userId="4ea74cf0-023b-4086-96b5-c11f6770f13d" providerId="ADAL" clId="{C79EBADB-BFD3-4A4A-842C-5D0FDEE4FD92}" dt="2020-11-03T12:08:12.010" v="490" actId="478"/>
          <ac:picMkLst>
            <pc:docMk/>
            <pc:sldMk cId="1284562330" sldId="20832"/>
            <ac:picMk id="24" creationId="{4AACC1D4-CD05-4067-A534-1AC9A1404B5A}"/>
          </ac:picMkLst>
        </pc:picChg>
        <pc:cxnChg chg="mod">
          <ac:chgData name="Centurione, Vittorio" userId="4ea74cf0-023b-4086-96b5-c11f6770f13d" providerId="ADAL" clId="{C79EBADB-BFD3-4A4A-842C-5D0FDEE4FD92}" dt="2020-11-03T12:05:28.177" v="393" actId="14100"/>
          <ac:cxnSpMkLst>
            <pc:docMk/>
            <pc:sldMk cId="1284562330" sldId="20832"/>
            <ac:cxnSpMk id="12" creationId="{34425DEE-F1AD-49F1-90E2-DD190C0333CF}"/>
          </ac:cxnSpMkLst>
        </pc:cxnChg>
        <pc:cxnChg chg="mod">
          <ac:chgData name="Centurione, Vittorio" userId="4ea74cf0-023b-4086-96b5-c11f6770f13d" providerId="ADAL" clId="{C79EBADB-BFD3-4A4A-842C-5D0FDEE4FD92}" dt="2020-11-03T11:48:47.100" v="264" actId="14100"/>
          <ac:cxnSpMkLst>
            <pc:docMk/>
            <pc:sldMk cId="1284562330" sldId="20832"/>
            <ac:cxnSpMk id="18" creationId="{742C5FAE-6B29-46AC-8AF7-73A416D957A9}"/>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2D2022-6924-4A2F-9872-FF4A1A668DD2}" type="datetimeFigureOut">
              <a:rPr lang="en-US" smtClean="0"/>
              <a:t>09/0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E384C8-84E0-4D13-9CD7-D9234DC00AE1}" type="slidenum">
              <a:rPr lang="en-US" smtClean="0"/>
              <a:t>‹#›</a:t>
            </a:fld>
            <a:endParaRPr lang="en-US"/>
          </a:p>
        </p:txBody>
      </p:sp>
    </p:spTree>
    <p:extLst>
      <p:ext uri="{BB962C8B-B14F-4D97-AF65-F5344CB8AC3E}">
        <p14:creationId xmlns:p14="http://schemas.microsoft.com/office/powerpoint/2010/main" val="3679378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135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261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073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25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364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E384C8-84E0-4D13-9CD7-D9234DC00A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198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0</a:t>
            </a:fld>
            <a:endParaRPr lang="en-US"/>
          </a:p>
        </p:txBody>
      </p:sp>
    </p:spTree>
    <p:extLst>
      <p:ext uri="{BB962C8B-B14F-4D97-AF65-F5344CB8AC3E}">
        <p14:creationId xmlns:p14="http://schemas.microsoft.com/office/powerpoint/2010/main" val="1961934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E384C8-84E0-4D13-9CD7-D9234DC00AE1}" type="slidenum">
              <a:rPr lang="en-US" smtClean="0"/>
              <a:t>11</a:t>
            </a:fld>
            <a:endParaRPr lang="en-US"/>
          </a:p>
        </p:txBody>
      </p:sp>
    </p:spTree>
    <p:extLst>
      <p:ext uri="{BB962C8B-B14F-4D97-AF65-F5344CB8AC3E}">
        <p14:creationId xmlns:p14="http://schemas.microsoft.com/office/powerpoint/2010/main" val="7038287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764526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170248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691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26789633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2610092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titolo">
    <p:bg>
      <p:bgPr>
        <a:solidFill>
          <a:schemeClr val="bg1"/>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23B3DD6D-E50E-4845-B927-E9D12B030A6B}"/>
              </a:ext>
            </a:extLst>
          </p:cNvPr>
          <p:cNvSpPr>
            <a:spLocks noGrp="1"/>
          </p:cNvSpPr>
          <p:nvPr>
            <p:ph type="body" sz="quarter" idx="12" hasCustomPrompt="1"/>
          </p:nvPr>
        </p:nvSpPr>
        <p:spPr>
          <a:xfrm>
            <a:off x="649288" y="500061"/>
            <a:ext cx="5446712" cy="505779"/>
          </a:xfrm>
          <a:prstGeom prst="rect">
            <a:avLst/>
          </a:prstGeom>
        </p:spPr>
        <p:txBody>
          <a:bodyPr/>
          <a:lstStyle>
            <a:lvl1pPr marL="0" indent="0">
              <a:buNone/>
              <a:defRPr sz="2200" b="0">
                <a:solidFill>
                  <a:srgbClr val="752027"/>
                </a:solidFill>
                <a:latin typeface="Arial" panose="020B0604020202020204" pitchFamily="34" charset="0"/>
                <a:cs typeface="Arial" panose="020B0604020202020204" pitchFamily="34" charset="0"/>
              </a:defRPr>
            </a:lvl1pPr>
          </a:lstStyle>
          <a:p>
            <a:pPr lvl="0"/>
            <a:r>
              <a:rPr lang="it-IT"/>
              <a:t>Slide Title</a:t>
            </a:r>
          </a:p>
        </p:txBody>
      </p:sp>
      <p:pic>
        <p:nvPicPr>
          <p:cNvPr id="7" name="Elemento grafico 6">
            <a:extLst>
              <a:ext uri="{FF2B5EF4-FFF2-40B4-BE49-F238E27FC236}">
                <a16:creationId xmlns:a16="http://schemas.microsoft.com/office/drawing/2014/main" id="{44882456-2ADB-42AC-B9D1-7B1A14E1F4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3657760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Diapositiva titol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147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80186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pic>
        <p:nvPicPr>
          <p:cNvPr id="3" name="Immagine 12">
            <a:extLst>
              <a:ext uri="{FF2B5EF4-FFF2-40B4-BE49-F238E27FC236}">
                <a16:creationId xmlns:a16="http://schemas.microsoft.com/office/drawing/2014/main" id="{9D13CD2A-9E12-4C19-8874-3312FC6BE24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264057" y="6202132"/>
            <a:ext cx="592375" cy="480000"/>
          </a:xfrm>
          <a:prstGeom prst="rect">
            <a:avLst/>
          </a:prstGeom>
        </p:spPr>
      </p:pic>
    </p:spTree>
    <p:extLst>
      <p:ext uri="{BB962C8B-B14F-4D97-AF65-F5344CB8AC3E}">
        <p14:creationId xmlns:p14="http://schemas.microsoft.com/office/powerpoint/2010/main" val="2651487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434380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Diapositiva titolo">
    <p:bg>
      <p:bgPr>
        <a:solidFill>
          <a:schemeClr val="bg1"/>
        </a:solidFill>
        <a:effectLst/>
      </p:bgPr>
    </p:bg>
    <p:spTree>
      <p:nvGrpSpPr>
        <p:cNvPr id="1" name=""/>
        <p:cNvGrpSpPr/>
        <p:nvPr/>
      </p:nvGrpSpPr>
      <p:grpSpPr>
        <a:xfrm>
          <a:off x="0" y="0"/>
          <a:ext cx="0" cy="0"/>
          <a:chOff x="0" y="0"/>
          <a:chExt cx="0" cy="0"/>
        </a:xfrm>
      </p:grpSpPr>
      <p:pic>
        <p:nvPicPr>
          <p:cNvPr id="2" name="Elemento grafico 1">
            <a:extLst>
              <a:ext uri="{FF2B5EF4-FFF2-40B4-BE49-F238E27FC236}">
                <a16:creationId xmlns:a16="http://schemas.microsoft.com/office/drawing/2014/main" id="{B367546C-1FC4-43F8-91BE-84AB0381C6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82" y="-26497"/>
            <a:ext cx="284748" cy="1672895"/>
          </a:xfrm>
          <a:prstGeom prst="rect">
            <a:avLst/>
          </a:prstGeom>
        </p:spPr>
      </p:pic>
    </p:spTree>
    <p:extLst>
      <p:ext uri="{BB962C8B-B14F-4D97-AF65-F5344CB8AC3E}">
        <p14:creationId xmlns:p14="http://schemas.microsoft.com/office/powerpoint/2010/main" val="139111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Diapositiva titolo">
    <p:bg>
      <p:bgPr>
        <a:solidFill>
          <a:srgbClr val="752127"/>
        </a:solidFill>
        <a:effectLst/>
      </p:bgPr>
    </p:bg>
    <p:spTree>
      <p:nvGrpSpPr>
        <p:cNvPr id="1" name=""/>
        <p:cNvGrpSpPr/>
        <p:nvPr/>
      </p:nvGrpSpPr>
      <p:grpSpPr>
        <a:xfrm>
          <a:off x="0" y="0"/>
          <a:ext cx="0" cy="0"/>
          <a:chOff x="0" y="0"/>
          <a:chExt cx="0" cy="0"/>
        </a:xfrm>
      </p:grpSpPr>
      <p:sp>
        <p:nvSpPr>
          <p:cNvPr id="2" name="Segnaposto testo 4">
            <a:extLst>
              <a:ext uri="{FF2B5EF4-FFF2-40B4-BE49-F238E27FC236}">
                <a16:creationId xmlns:a16="http://schemas.microsoft.com/office/drawing/2014/main" id="{32500E10-D138-40E6-83D9-84A4A669E765}"/>
              </a:ext>
            </a:extLst>
          </p:cNvPr>
          <p:cNvSpPr>
            <a:spLocks noGrp="1"/>
          </p:cNvSpPr>
          <p:nvPr>
            <p:ph type="body" sz="quarter" idx="13" hasCustomPrompt="1"/>
          </p:nvPr>
        </p:nvSpPr>
        <p:spPr>
          <a:xfrm>
            <a:off x="2001699" y="3429000"/>
            <a:ext cx="3338927"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io Rossi - Business Project Manager</a:t>
            </a:r>
          </a:p>
          <a:p>
            <a:pPr lvl="0"/>
            <a:r>
              <a:rPr lang="en-US"/>
              <a:t>0039 333 0000000000 mario.rossi@generali.it</a:t>
            </a:r>
            <a:endParaRPr lang="it-IT"/>
          </a:p>
        </p:txBody>
      </p:sp>
      <p:sp>
        <p:nvSpPr>
          <p:cNvPr id="3" name="Segnaposto testo 4">
            <a:extLst>
              <a:ext uri="{FF2B5EF4-FFF2-40B4-BE49-F238E27FC236}">
                <a16:creationId xmlns:a16="http://schemas.microsoft.com/office/drawing/2014/main" id="{C4583A6E-0BBE-4601-932D-059D57CF6DB8}"/>
              </a:ext>
            </a:extLst>
          </p:cNvPr>
          <p:cNvSpPr>
            <a:spLocks noGrp="1"/>
          </p:cNvSpPr>
          <p:nvPr>
            <p:ph type="body" sz="quarter" idx="14" hasCustomPrompt="1"/>
          </p:nvPr>
        </p:nvSpPr>
        <p:spPr>
          <a:xfrm>
            <a:off x="2001699" y="4277139"/>
            <a:ext cx="3444944" cy="626165"/>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Marco Verdi - Business Project Manager</a:t>
            </a:r>
          </a:p>
          <a:p>
            <a:pPr lvl="0"/>
            <a:r>
              <a:rPr lang="en-US"/>
              <a:t>0039 333 0000000000 marco.verdi@generali.it</a:t>
            </a:r>
            <a:endParaRPr lang="it-IT"/>
          </a:p>
        </p:txBody>
      </p:sp>
      <p:sp>
        <p:nvSpPr>
          <p:cNvPr id="4" name="Segnaposto testo 4">
            <a:extLst>
              <a:ext uri="{FF2B5EF4-FFF2-40B4-BE49-F238E27FC236}">
                <a16:creationId xmlns:a16="http://schemas.microsoft.com/office/drawing/2014/main" id="{9AD46FCD-0F80-429C-9EC1-EC7836D8AAB7}"/>
              </a:ext>
            </a:extLst>
          </p:cNvPr>
          <p:cNvSpPr>
            <a:spLocks noGrp="1"/>
          </p:cNvSpPr>
          <p:nvPr>
            <p:ph type="body" sz="quarter" idx="15" hasCustomPrompt="1"/>
          </p:nvPr>
        </p:nvSpPr>
        <p:spPr>
          <a:xfrm>
            <a:off x="5738812" y="2796209"/>
            <a:ext cx="3908771" cy="2107096"/>
          </a:xfrm>
          <a:prstGeom prst="rect">
            <a:avLst/>
          </a:prstGeom>
        </p:spPr>
        <p:txBody>
          <a:bodyPr/>
          <a:lstStyle>
            <a:lvl1pPr marL="0" indent="0">
              <a:buNone/>
              <a:defRPr sz="1200" b="0">
                <a:solidFill>
                  <a:schemeClr val="bg1"/>
                </a:solidFill>
                <a:latin typeface="Arial" panose="020B0604020202020204" pitchFamily="34" charset="0"/>
                <a:cs typeface="Arial" panose="020B0604020202020204"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a:t>
            </a:r>
            <a:r>
              <a:rPr lang="en-US" err="1"/>
              <a:t>doloremagna</a:t>
            </a:r>
            <a:r>
              <a:rPr lang="en-US"/>
              <a:t>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a:t>
            </a:r>
          </a:p>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seddiam</a:t>
            </a:r>
            <a:r>
              <a:rPr lang="en-US"/>
              <a:t>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a:t>
            </a:r>
            <a:endParaRPr lang="it-IT"/>
          </a:p>
        </p:txBody>
      </p:sp>
      <p:sp>
        <p:nvSpPr>
          <p:cNvPr id="5" name="Segnaposto testo 4">
            <a:extLst>
              <a:ext uri="{FF2B5EF4-FFF2-40B4-BE49-F238E27FC236}">
                <a16:creationId xmlns:a16="http://schemas.microsoft.com/office/drawing/2014/main" id="{F8C541B6-A529-4D85-BD0B-3DB591E35242}"/>
              </a:ext>
            </a:extLst>
          </p:cNvPr>
          <p:cNvSpPr>
            <a:spLocks noGrp="1"/>
          </p:cNvSpPr>
          <p:nvPr>
            <p:ph type="body" sz="quarter" idx="10" hasCustomPrompt="1"/>
          </p:nvPr>
        </p:nvSpPr>
        <p:spPr>
          <a:xfrm>
            <a:off x="2001699" y="2796209"/>
            <a:ext cx="3060631"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THANK YOU</a:t>
            </a:r>
          </a:p>
        </p:txBody>
      </p:sp>
      <p:pic>
        <p:nvPicPr>
          <p:cNvPr id="8" name="Elemento grafico 7">
            <a:extLst>
              <a:ext uri="{FF2B5EF4-FFF2-40B4-BE49-F238E27FC236}">
                <a16:creationId xmlns:a16="http://schemas.microsoft.com/office/drawing/2014/main" id="{1A4FC0E6-7A0A-487A-A079-594207A65C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74" y="-24915"/>
            <a:ext cx="281479" cy="1653690"/>
          </a:xfrm>
          <a:prstGeom prst="rect">
            <a:avLst/>
          </a:prstGeom>
        </p:spPr>
      </p:pic>
      <p:pic>
        <p:nvPicPr>
          <p:cNvPr id="9" name="Elemento grafico 8">
            <a:extLst>
              <a:ext uri="{FF2B5EF4-FFF2-40B4-BE49-F238E27FC236}">
                <a16:creationId xmlns:a16="http://schemas.microsoft.com/office/drawing/2014/main" id="{C67F6255-A712-4386-96E0-CE346F8514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144" y="5890437"/>
            <a:ext cx="1071966" cy="490560"/>
          </a:xfrm>
          <a:prstGeom prst="rect">
            <a:avLst/>
          </a:prstGeom>
        </p:spPr>
      </p:pic>
      <p:pic>
        <p:nvPicPr>
          <p:cNvPr id="10" name="Elemento grafico 9">
            <a:extLst>
              <a:ext uri="{FF2B5EF4-FFF2-40B4-BE49-F238E27FC236}">
                <a16:creationId xmlns:a16="http://schemas.microsoft.com/office/drawing/2014/main" id="{E11C9D7C-703A-4EDF-A0D3-4E6FB0D6CF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92597" y="5896530"/>
            <a:ext cx="2497037" cy="482186"/>
          </a:xfrm>
          <a:prstGeom prst="rect">
            <a:avLst/>
          </a:prstGeom>
        </p:spPr>
      </p:pic>
    </p:spTree>
    <p:extLst>
      <p:ext uri="{BB962C8B-B14F-4D97-AF65-F5344CB8AC3E}">
        <p14:creationId xmlns:p14="http://schemas.microsoft.com/office/powerpoint/2010/main" val="6616112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apositiva titolo">
    <p:bg>
      <p:bgPr>
        <a:solidFill>
          <a:srgbClr val="752127"/>
        </a:solidFill>
        <a:effectLst/>
      </p:bgPr>
    </p:bg>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7E360A55-0A1C-4A9F-91D9-32E5DA43DF70}"/>
              </a:ext>
            </a:extLst>
          </p:cNvPr>
          <p:cNvSpPr>
            <a:spLocks noGrp="1"/>
          </p:cNvSpPr>
          <p:nvPr>
            <p:ph type="body" sz="quarter" idx="10" hasCustomPrompt="1"/>
          </p:nvPr>
        </p:nvSpPr>
        <p:spPr>
          <a:xfrm>
            <a:off x="4996690" y="1748872"/>
            <a:ext cx="5446712" cy="477493"/>
          </a:xfrm>
          <a:prstGeom prst="rect">
            <a:avLst/>
          </a:prstGeom>
        </p:spPr>
        <p:txBody>
          <a:bodyPr/>
          <a:lstStyle>
            <a:lvl1pPr marL="0" indent="0">
              <a:buNone/>
              <a:defRPr sz="3700" b="1">
                <a:solidFill>
                  <a:schemeClr val="bg1"/>
                </a:solidFill>
                <a:latin typeface="Arial" panose="020B0604020202020204" pitchFamily="34" charset="0"/>
                <a:cs typeface="Arial" panose="020B0604020202020204" pitchFamily="34" charset="0"/>
              </a:defRPr>
            </a:lvl1pPr>
          </a:lstStyle>
          <a:p>
            <a:pPr lvl="0"/>
            <a:r>
              <a:rPr lang="it-IT"/>
              <a:t>NEW ROLE SCHOOLS</a:t>
            </a:r>
          </a:p>
        </p:txBody>
      </p:sp>
      <p:sp>
        <p:nvSpPr>
          <p:cNvPr id="8" name="Segnaposto testo 4">
            <a:extLst>
              <a:ext uri="{FF2B5EF4-FFF2-40B4-BE49-F238E27FC236}">
                <a16:creationId xmlns:a16="http://schemas.microsoft.com/office/drawing/2014/main" id="{DB3F8653-86F4-48B6-8998-7AB719585006}"/>
              </a:ext>
            </a:extLst>
          </p:cNvPr>
          <p:cNvSpPr>
            <a:spLocks noGrp="1"/>
          </p:cNvSpPr>
          <p:nvPr>
            <p:ph type="body" sz="quarter" idx="11"/>
          </p:nvPr>
        </p:nvSpPr>
        <p:spPr>
          <a:xfrm>
            <a:off x="4996690" y="2358474"/>
            <a:ext cx="5446712" cy="477493"/>
          </a:xfrm>
          <a:prstGeom prst="rect">
            <a:avLst/>
          </a:prstGeom>
        </p:spPr>
        <p:txBody>
          <a:bodyPr/>
          <a:lstStyle>
            <a:lvl1pPr marL="0" indent="0">
              <a:buNone/>
              <a:defRPr sz="2000" b="1">
                <a:solidFill>
                  <a:srgbClr val="FD5D6F"/>
                </a:solidFill>
                <a:latin typeface="Arial" panose="020B0604020202020204" pitchFamily="34" charset="0"/>
                <a:cs typeface="Arial" panose="020B0604020202020204" pitchFamily="34" charset="0"/>
              </a:defRPr>
            </a:lvl1pPr>
          </a:lstStyle>
          <a:p>
            <a:pPr lvl="0"/>
            <a:endParaRPr lang="it-IT"/>
          </a:p>
        </p:txBody>
      </p:sp>
      <p:sp>
        <p:nvSpPr>
          <p:cNvPr id="9" name="Segnaposto testo 4">
            <a:extLst>
              <a:ext uri="{FF2B5EF4-FFF2-40B4-BE49-F238E27FC236}">
                <a16:creationId xmlns:a16="http://schemas.microsoft.com/office/drawing/2014/main" id="{BCB409CE-4779-466F-9DD6-81F87907C42A}"/>
              </a:ext>
            </a:extLst>
          </p:cNvPr>
          <p:cNvSpPr>
            <a:spLocks noGrp="1"/>
          </p:cNvSpPr>
          <p:nvPr>
            <p:ph type="body" sz="quarter" idx="12" hasCustomPrompt="1"/>
          </p:nvPr>
        </p:nvSpPr>
        <p:spPr>
          <a:xfrm>
            <a:off x="4996690" y="3190253"/>
            <a:ext cx="5446712" cy="831781"/>
          </a:xfrm>
          <a:prstGeom prst="rect">
            <a:avLst/>
          </a:prstGeom>
        </p:spPr>
        <p:txBody>
          <a:bodyPr/>
          <a:lstStyle>
            <a:lvl1pPr marL="0" indent="0">
              <a:buNone/>
              <a:defRPr sz="2200" b="0">
                <a:solidFill>
                  <a:schemeClr val="bg1"/>
                </a:solidFill>
                <a:latin typeface="Arial" panose="020B0604020202020204" pitchFamily="34" charset="0"/>
                <a:cs typeface="Arial" panose="020B0604020202020204" pitchFamily="34" charset="0"/>
              </a:defRPr>
            </a:lvl1pPr>
          </a:lstStyle>
          <a:p>
            <a:pPr lvl="0"/>
            <a:r>
              <a:rPr lang="it-IT"/>
              <a:t>Slide Title</a:t>
            </a:r>
          </a:p>
          <a:p>
            <a:pPr lvl="0"/>
            <a:r>
              <a:rPr lang="it-IT" err="1"/>
              <a:t>Arial</a:t>
            </a:r>
            <a:r>
              <a:rPr lang="it-IT"/>
              <a:t> Regular 20/22</a:t>
            </a:r>
          </a:p>
        </p:txBody>
      </p:sp>
      <p:sp>
        <p:nvSpPr>
          <p:cNvPr id="10" name="Segnaposto testo 4">
            <a:extLst>
              <a:ext uri="{FF2B5EF4-FFF2-40B4-BE49-F238E27FC236}">
                <a16:creationId xmlns:a16="http://schemas.microsoft.com/office/drawing/2014/main" id="{81AA2940-AAEB-48A2-9E64-3F70D79CCC2C}"/>
              </a:ext>
            </a:extLst>
          </p:cNvPr>
          <p:cNvSpPr>
            <a:spLocks noGrp="1"/>
          </p:cNvSpPr>
          <p:nvPr>
            <p:ph type="body" sz="quarter" idx="13" hasCustomPrompt="1"/>
          </p:nvPr>
        </p:nvSpPr>
        <p:spPr>
          <a:xfrm>
            <a:off x="4996690" y="4210670"/>
            <a:ext cx="5446712" cy="831781"/>
          </a:xfrm>
          <a:prstGeom prst="rect">
            <a:avLst/>
          </a:prstGeom>
        </p:spPr>
        <p:txBody>
          <a:bodyPr/>
          <a:lstStyle>
            <a:lvl1pPr marL="0" indent="0">
              <a:buNone/>
              <a:defRPr sz="1700" b="0">
                <a:solidFill>
                  <a:schemeClr val="bg1"/>
                </a:solidFill>
                <a:latin typeface="Arial" panose="020B0604020202020204" pitchFamily="34" charset="0"/>
                <a:cs typeface="Arial" panose="020B0604020202020204" pitchFamily="34" charset="0"/>
              </a:defRPr>
            </a:lvl1pPr>
          </a:lstStyle>
          <a:p>
            <a:pPr lvl="0"/>
            <a:r>
              <a:rPr lang="it-IT"/>
              <a:t>Slide </a:t>
            </a:r>
            <a:r>
              <a:rPr lang="it-IT" err="1"/>
              <a:t>Subtitle</a:t>
            </a:r>
            <a:endParaRPr lang="it-IT"/>
          </a:p>
          <a:p>
            <a:pPr lvl="0"/>
            <a:r>
              <a:rPr lang="it-IT" err="1"/>
              <a:t>Arial</a:t>
            </a:r>
            <a:r>
              <a:rPr lang="it-IT"/>
              <a:t> Regular 15/17</a:t>
            </a:r>
          </a:p>
        </p:txBody>
      </p:sp>
      <p:sp>
        <p:nvSpPr>
          <p:cNvPr id="11" name="Segnaposto testo 4">
            <a:extLst>
              <a:ext uri="{FF2B5EF4-FFF2-40B4-BE49-F238E27FC236}">
                <a16:creationId xmlns:a16="http://schemas.microsoft.com/office/drawing/2014/main" id="{BF4A6CB6-C596-4A3C-84DA-CC933C03D4F1}"/>
              </a:ext>
            </a:extLst>
          </p:cNvPr>
          <p:cNvSpPr>
            <a:spLocks noGrp="1"/>
          </p:cNvSpPr>
          <p:nvPr>
            <p:ph type="body" sz="quarter" idx="14" hasCustomPrompt="1"/>
          </p:nvPr>
        </p:nvSpPr>
        <p:spPr>
          <a:xfrm>
            <a:off x="10483158" y="542718"/>
            <a:ext cx="1086678" cy="292169"/>
          </a:xfrm>
          <a:prstGeom prst="rect">
            <a:avLst/>
          </a:prstGeom>
        </p:spPr>
        <p:txBody>
          <a:bodyPr/>
          <a:lstStyle>
            <a:lvl1pPr marL="0" indent="0" algn="r">
              <a:buNone/>
              <a:defRPr sz="1200" b="0">
                <a:solidFill>
                  <a:schemeClr val="bg1"/>
                </a:solidFill>
                <a:latin typeface="Arial" panose="020B0604020202020204" pitchFamily="34" charset="0"/>
                <a:cs typeface="Arial" panose="020B0604020202020204" pitchFamily="34" charset="0"/>
              </a:defRPr>
            </a:lvl1pPr>
          </a:lstStyle>
          <a:p>
            <a:pPr lvl="0"/>
            <a:r>
              <a:rPr lang="it-IT"/>
              <a:t>17/01/2020</a:t>
            </a:r>
          </a:p>
        </p:txBody>
      </p:sp>
      <p:sp>
        <p:nvSpPr>
          <p:cNvPr id="7" name="Segnaposto testo 4">
            <a:extLst>
              <a:ext uri="{FF2B5EF4-FFF2-40B4-BE49-F238E27FC236}">
                <a16:creationId xmlns:a16="http://schemas.microsoft.com/office/drawing/2014/main" id="{9A92C762-B7B4-42DD-BEEC-24A9151C5C87}"/>
              </a:ext>
            </a:extLst>
          </p:cNvPr>
          <p:cNvSpPr>
            <a:spLocks noGrp="1"/>
          </p:cNvSpPr>
          <p:nvPr>
            <p:ph type="body" sz="quarter" idx="15" hasCustomPrompt="1"/>
          </p:nvPr>
        </p:nvSpPr>
        <p:spPr>
          <a:xfrm>
            <a:off x="5003006" y="6042990"/>
            <a:ext cx="2683255" cy="371686"/>
          </a:xfrm>
          <a:prstGeom prst="rect">
            <a:avLst/>
          </a:prstGeom>
        </p:spPr>
        <p:txBody>
          <a:bodyPr/>
          <a:lstStyle>
            <a:lvl1pPr marL="0" indent="0">
              <a:buNone/>
              <a:defRPr sz="1400" b="1">
                <a:solidFill>
                  <a:schemeClr val="bg1"/>
                </a:solidFill>
                <a:latin typeface="Arial" panose="020B0604020202020204" pitchFamily="34" charset="0"/>
                <a:cs typeface="Arial" panose="020B0604020202020204" pitchFamily="34" charset="0"/>
              </a:defRPr>
            </a:lvl1pPr>
          </a:lstStyle>
          <a:p>
            <a:pPr lvl="0"/>
            <a:r>
              <a:rPr lang="it-IT"/>
              <a:t>YOUR WAY TO THE FUTURE</a:t>
            </a:r>
          </a:p>
        </p:txBody>
      </p:sp>
      <p:pic>
        <p:nvPicPr>
          <p:cNvPr id="2" name="Elemento grafico 1">
            <a:extLst>
              <a:ext uri="{FF2B5EF4-FFF2-40B4-BE49-F238E27FC236}">
                <a16:creationId xmlns:a16="http://schemas.microsoft.com/office/drawing/2014/main" id="{7AA7CE67-4E45-4DFB-A7A9-B595FFE90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92597" y="5896530"/>
            <a:ext cx="2497037" cy="482186"/>
          </a:xfrm>
          <a:prstGeom prst="rect">
            <a:avLst/>
          </a:prstGeom>
        </p:spPr>
      </p:pic>
      <p:pic>
        <p:nvPicPr>
          <p:cNvPr id="3" name="Elemento grafico 2">
            <a:extLst>
              <a:ext uri="{FF2B5EF4-FFF2-40B4-BE49-F238E27FC236}">
                <a16:creationId xmlns:a16="http://schemas.microsoft.com/office/drawing/2014/main" id="{920AC855-D3EE-461B-96A9-F7EE753BE4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4478" y="519541"/>
            <a:ext cx="6982616" cy="5859175"/>
          </a:xfrm>
          <a:prstGeom prst="rect">
            <a:avLst/>
          </a:prstGeom>
        </p:spPr>
      </p:pic>
    </p:spTree>
    <p:extLst>
      <p:ext uri="{BB962C8B-B14F-4D97-AF65-F5344CB8AC3E}">
        <p14:creationId xmlns:p14="http://schemas.microsoft.com/office/powerpoint/2010/main" val="3573712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8443476"/>
      </p:ext>
    </p:extLst>
  </p:cSld>
  <p:clrMap bg1="lt1" tx1="dk1" bg2="lt2" tx2="dk2" accent1="accent1" accent2="accent2" accent3="accent3" accent4="accent4" accent5="accent5" accent6="accent6" hlink="hlink" folHlink="folHlink"/>
  <p:sldLayoutIdLst>
    <p:sldLayoutId id="2147483783" r:id="rId1"/>
    <p:sldLayoutId id="2147483713" r:id="rId2"/>
    <p:sldLayoutId id="2147483715" r:id="rId3"/>
    <p:sldLayoutId id="2147483778" r:id="rId4"/>
    <p:sldLayoutId id="2147483784" r:id="rId5"/>
    <p:sldLayoutId id="2147483772" r:id="rId6"/>
    <p:sldLayoutId id="2147483717" r:id="rId7"/>
    <p:sldLayoutId id="2147483790"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616533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34.jpeg"/></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6.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22.jpg"/><Relationship Id="rId13" Type="http://schemas.openxmlformats.org/officeDocument/2006/relationships/image" Target="../media/image27.jpg"/><Relationship Id="rId3" Type="http://schemas.openxmlformats.org/officeDocument/2006/relationships/tags" Target="../tags/tag3.xml"/><Relationship Id="rId7" Type="http://schemas.openxmlformats.org/officeDocument/2006/relationships/image" Target="../media/image21.jpg"/><Relationship Id="rId12" Type="http://schemas.openxmlformats.org/officeDocument/2006/relationships/image" Target="../media/image26.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25.jpg"/><Relationship Id="rId5" Type="http://schemas.openxmlformats.org/officeDocument/2006/relationships/slideLayout" Target="../slideLayouts/slideLayout5.xml"/><Relationship Id="rId10" Type="http://schemas.openxmlformats.org/officeDocument/2006/relationships/image" Target="../media/image24.jpg"/><Relationship Id="rId4" Type="http://schemas.openxmlformats.org/officeDocument/2006/relationships/tags" Target="../tags/tag4.xml"/><Relationship Id="rId9" Type="http://schemas.openxmlformats.org/officeDocument/2006/relationships/image" Target="../media/image23.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Index | Presentation Core </a:t>
            </a:r>
            <a:r>
              <a:rPr lang="it-IT" sz="2000" b="1" dirty="0" err="1">
                <a:solidFill>
                  <a:srgbClr val="752127"/>
                </a:solidFill>
              </a:rPr>
              <a:t>Structure</a:t>
            </a:r>
            <a:endParaRPr lang="it-IT" sz="2000" b="1" dirty="0">
              <a:solidFill>
                <a:srgbClr val="752127"/>
              </a:solidFill>
            </a:endParaRPr>
          </a:p>
        </p:txBody>
      </p:sp>
      <p:sp>
        <p:nvSpPr>
          <p:cNvPr id="3" name="TextBox 2">
            <a:extLst>
              <a:ext uri="{FF2B5EF4-FFF2-40B4-BE49-F238E27FC236}">
                <a16:creationId xmlns:a16="http://schemas.microsoft.com/office/drawing/2014/main" id="{E6AC5206-17D6-4CF5-8E1D-130170A0ED3F}"/>
              </a:ext>
            </a:extLst>
          </p:cNvPr>
          <p:cNvSpPr txBox="1"/>
          <p:nvPr/>
        </p:nvSpPr>
        <p:spPr>
          <a:xfrm>
            <a:off x="1134736" y="1949985"/>
            <a:ext cx="10355857" cy="3539430"/>
          </a:xfrm>
          <a:prstGeom prst="rect">
            <a:avLst/>
          </a:prstGeom>
          <a:noFill/>
          <a:ln>
            <a:noFill/>
          </a:ln>
        </p:spPr>
        <p:txBody>
          <a:bodyPr wrap="square" rtlCol="0">
            <a:spAutoFit/>
          </a:bodyPr>
          <a:lstStyle/>
          <a:p>
            <a:pPr marL="285750" indent="-285750">
              <a:buFont typeface="Arial" panose="020B0604020202020204" pitchFamily="34" charset="0"/>
              <a:buChar char="•"/>
            </a:pPr>
            <a:r>
              <a:rPr lang="en-US" sz="2800" dirty="0"/>
              <a:t>Team Composition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How we worked together</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Overview of the entire process and data insights obtained from it </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a:t>Business action proposals based on findings</a:t>
            </a:r>
          </a:p>
          <a:p>
            <a:pPr marL="285750" indent="-285750">
              <a:buFont typeface="Arial" panose="020B0604020202020204" pitchFamily="34" charset="0"/>
              <a:buChar char="•"/>
            </a:pPr>
            <a:endParaRPr lang="en-US" sz="2800" dirty="0"/>
          </a:p>
        </p:txBody>
      </p:sp>
      <p:sp>
        <p:nvSpPr>
          <p:cNvPr id="5" name="Rectangle: Rounded Corners 4">
            <a:extLst>
              <a:ext uri="{FF2B5EF4-FFF2-40B4-BE49-F238E27FC236}">
                <a16:creationId xmlns:a16="http://schemas.microsoft.com/office/drawing/2014/main" id="{2EC801BA-1859-4363-AB1E-2F58E286F257}"/>
              </a:ext>
            </a:extLst>
          </p:cNvPr>
          <p:cNvSpPr/>
          <p:nvPr/>
        </p:nvSpPr>
        <p:spPr>
          <a:xfrm>
            <a:off x="9590061" y="661996"/>
            <a:ext cx="1530220"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adapt</a:t>
            </a:r>
          </a:p>
        </p:txBody>
      </p:sp>
    </p:spTree>
    <p:extLst>
      <p:ext uri="{BB962C8B-B14F-4D97-AF65-F5344CB8AC3E}">
        <p14:creationId xmlns:p14="http://schemas.microsoft.com/office/powerpoint/2010/main" val="1582394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pic>
        <p:nvPicPr>
          <p:cNvPr id="9" name="Picture 8" descr="A picture containing text, device&#10;&#10;Description automatically generated">
            <a:extLst>
              <a:ext uri="{FF2B5EF4-FFF2-40B4-BE49-F238E27FC236}">
                <a16:creationId xmlns:a16="http://schemas.microsoft.com/office/drawing/2014/main" id="{FAEB93A2-4188-4871-86E7-37911CF567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9937" y="4745025"/>
            <a:ext cx="3142143" cy="1897069"/>
          </a:xfrm>
          <a:prstGeom prst="rect">
            <a:avLst/>
          </a:prstGeom>
        </p:spPr>
      </p:pic>
      <p:sp>
        <p:nvSpPr>
          <p:cNvPr id="10" name="Rechteck 14">
            <a:extLst>
              <a:ext uri="{FF2B5EF4-FFF2-40B4-BE49-F238E27FC236}">
                <a16:creationId xmlns:a16="http://schemas.microsoft.com/office/drawing/2014/main" id="{D06B01D6-F743-430B-89EC-48D3609C7633}"/>
              </a:ext>
            </a:extLst>
          </p:cNvPr>
          <p:cNvSpPr>
            <a:spLocks noChangeArrowheads="1"/>
          </p:cNvSpPr>
          <p:nvPr/>
        </p:nvSpPr>
        <p:spPr bwMode="auto">
          <a:xfrm>
            <a:off x="716877" y="2042743"/>
            <a:ext cx="450826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dirty="0">
                <a:solidFill>
                  <a:srgbClr val="000000"/>
                </a:solidFill>
              </a:rPr>
              <a:t>Send out a survey (NPS) after each trip to assess customer satisfaction level on different aspects of the trip</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Use quantitative (scores) and qualitative (comments) feedback to predict the retention for that trip &amp; school</a:t>
            </a:r>
          </a:p>
          <a:p>
            <a:pPr lvl="1" algn="just" eaLnBrk="1" hangingPunct="1">
              <a:buClr>
                <a:srgbClr val="C21C1D"/>
              </a:buClr>
            </a:pPr>
            <a:endParaRPr lang="de-DE" altLang="de-DE" sz="1500" dirty="0">
              <a:solidFill>
                <a:srgbClr val="000000"/>
              </a:solidFill>
            </a:endParaRPr>
          </a:p>
          <a:p>
            <a:pPr lvl="1" algn="just" eaLnBrk="1" hangingPunct="1">
              <a:buClr>
                <a:srgbClr val="C21C1D"/>
              </a:buClr>
            </a:pPr>
            <a:r>
              <a:rPr lang="de-DE" altLang="de-DE" sz="1500" dirty="0">
                <a:solidFill>
                  <a:srgbClr val="000000"/>
                </a:solidFill>
              </a:rPr>
              <a:t>Set-up a governance to periodically analyze NPS results : identify areas of excellence and improvement and deduct concrete actions</a:t>
            </a:r>
          </a:p>
          <a:p>
            <a:pPr lvl="1" algn="just" eaLnBrk="1" hangingPunct="1">
              <a:buClr>
                <a:srgbClr val="C21C1D"/>
              </a:buClr>
            </a:pPr>
            <a:endParaRPr lang="de-DE" altLang="de-DE" sz="1500" dirty="0">
              <a:solidFill>
                <a:srgbClr val="000000"/>
              </a:solidFill>
            </a:endParaRPr>
          </a:p>
        </p:txBody>
      </p:sp>
      <p:sp>
        <p:nvSpPr>
          <p:cNvPr id="11" name="Textfeld 13">
            <a:extLst>
              <a:ext uri="{FF2B5EF4-FFF2-40B4-BE49-F238E27FC236}">
                <a16:creationId xmlns:a16="http://schemas.microsoft.com/office/drawing/2014/main" id="{6CE4C5DA-03D9-4636-9801-FA096C6CD915}"/>
              </a:ext>
            </a:extLst>
          </p:cNvPr>
          <p:cNvSpPr txBox="1"/>
          <p:nvPr/>
        </p:nvSpPr>
        <p:spPr>
          <a:xfrm>
            <a:off x="716877" y="1560943"/>
            <a:ext cx="2743200" cy="369332"/>
          </a:xfrm>
          <a:prstGeom prst="rect">
            <a:avLst/>
          </a:prstGeom>
          <a:noFill/>
        </p:spPr>
        <p:txBody>
          <a:bodyPr wrap="square" rtlCol="0">
            <a:spAutoFit/>
          </a:bodyPr>
          <a:lstStyle/>
          <a:p>
            <a:r>
              <a:rPr lang="de-DE" b="1" dirty="0"/>
              <a:t>Polarity is a key predictor</a:t>
            </a:r>
          </a:p>
        </p:txBody>
      </p:sp>
      <p:sp>
        <p:nvSpPr>
          <p:cNvPr id="20" name="Textfeld 13">
            <a:extLst>
              <a:ext uri="{FF2B5EF4-FFF2-40B4-BE49-F238E27FC236}">
                <a16:creationId xmlns:a16="http://schemas.microsoft.com/office/drawing/2014/main" id="{5D9334AC-F180-4FFB-BAB2-47F35FF37228}"/>
              </a:ext>
            </a:extLst>
          </p:cNvPr>
          <p:cNvSpPr txBox="1"/>
          <p:nvPr/>
        </p:nvSpPr>
        <p:spPr>
          <a:xfrm>
            <a:off x="5907980" y="1560943"/>
            <a:ext cx="2743200" cy="369332"/>
          </a:xfrm>
          <a:prstGeom prst="rect">
            <a:avLst/>
          </a:prstGeom>
          <a:noFill/>
        </p:spPr>
        <p:txBody>
          <a:bodyPr wrap="square" rtlCol="0">
            <a:spAutoFit/>
          </a:bodyPr>
          <a:lstStyle/>
          <a:p>
            <a:r>
              <a:rPr lang="de-DE" b="1" dirty="0"/>
              <a:t>Word of mouth</a:t>
            </a:r>
          </a:p>
        </p:txBody>
      </p:sp>
      <p:sp>
        <p:nvSpPr>
          <p:cNvPr id="21" name="Rechteck 14">
            <a:extLst>
              <a:ext uri="{FF2B5EF4-FFF2-40B4-BE49-F238E27FC236}">
                <a16:creationId xmlns:a16="http://schemas.microsoft.com/office/drawing/2014/main" id="{005AC3B7-08D3-4742-81B9-225966CB90CA}"/>
              </a:ext>
            </a:extLst>
          </p:cNvPr>
          <p:cNvSpPr>
            <a:spLocks noChangeArrowheads="1"/>
          </p:cNvSpPr>
          <p:nvPr/>
        </p:nvSpPr>
        <p:spPr bwMode="auto">
          <a:xfrm>
            <a:off x="5907980" y="2057266"/>
            <a:ext cx="4831555"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algn="just" eaLnBrk="1" hangingPunct="1">
              <a:buClr>
                <a:srgbClr val="C21C1D"/>
              </a:buClr>
            </a:pPr>
            <a:r>
              <a:rPr lang="de-DE" altLang="de-DE" sz="1500" b="1" dirty="0">
                <a:solidFill>
                  <a:srgbClr val="000000"/>
                </a:solidFill>
              </a:rPr>
              <a:t>Sponsor „a friend“</a:t>
            </a:r>
          </a:p>
          <a:p>
            <a:pPr marL="0" lvl="1" indent="0" algn="just" eaLnBrk="1" hangingPunct="1">
              <a:buClr>
                <a:srgbClr val="C21C1D"/>
              </a:buClr>
              <a:buNone/>
            </a:pPr>
            <a:r>
              <a:rPr lang="de-DE" altLang="de-DE" sz="1500" dirty="0">
                <a:solidFill>
                  <a:srgbClr val="000000"/>
                </a:solidFill>
              </a:rPr>
              <a:t>The school can invite another school to sign up for a new trip. If it does, they will get a discount of 10% on next subscription</a:t>
            </a:r>
          </a:p>
          <a:p>
            <a:pPr marL="0" lvl="1" indent="0" algn="just" eaLnBrk="1" hangingPunct="1">
              <a:buClr>
                <a:srgbClr val="C21C1D"/>
              </a:buClr>
              <a:buNone/>
            </a:pPr>
            <a:endParaRPr lang="de-DE" altLang="de-DE" sz="1500" dirty="0">
              <a:solidFill>
                <a:srgbClr val="000000"/>
              </a:solidFill>
            </a:endParaRPr>
          </a:p>
          <a:p>
            <a:pPr lvl="1" algn="just" eaLnBrk="1" hangingPunct="1">
              <a:buClr>
                <a:srgbClr val="C21C1D"/>
              </a:buClr>
            </a:pPr>
            <a:r>
              <a:rPr lang="de-DE" altLang="de-DE" sz="1500" b="1" dirty="0">
                <a:solidFill>
                  <a:srgbClr val="000000"/>
                </a:solidFill>
              </a:rPr>
              <a:t>Work with ambassadors</a:t>
            </a:r>
          </a:p>
          <a:p>
            <a:pPr marL="0" lvl="1" indent="0" algn="just" eaLnBrk="1" hangingPunct="1">
              <a:buClr>
                <a:srgbClr val="C21C1D"/>
              </a:buClr>
              <a:buNone/>
            </a:pPr>
            <a:r>
              <a:rPr lang="de-DE" altLang="de-DE" sz="1500" dirty="0">
                <a:solidFill>
                  <a:srgbClr val="000000"/>
                </a:solidFill>
              </a:rPr>
              <a:t>Ask the best scoring NPS if they want to testify about their experience and use it on your website</a:t>
            </a:r>
          </a:p>
          <a:p>
            <a:pPr marL="0" lvl="1" indent="0" algn="just" eaLnBrk="1" hangingPunct="1">
              <a:buClr>
                <a:srgbClr val="C21C1D"/>
              </a:buClr>
              <a:buNone/>
            </a:pPr>
            <a:endParaRPr lang="de-DE" altLang="de-DE" sz="1500" dirty="0">
              <a:solidFill>
                <a:srgbClr val="000000"/>
              </a:solidFill>
            </a:endParaRPr>
          </a:p>
        </p:txBody>
      </p:sp>
      <p:pic>
        <p:nvPicPr>
          <p:cNvPr id="2050" name="Picture 2" descr="New discount codes">
            <a:extLst>
              <a:ext uri="{FF2B5EF4-FFF2-40B4-BE49-F238E27FC236}">
                <a16:creationId xmlns:a16="http://schemas.microsoft.com/office/drawing/2014/main" id="{03716FA6-54A9-47AA-973D-170AA3EC46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08838">
            <a:off x="7516469" y="4766690"/>
            <a:ext cx="2329722" cy="1129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748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Business action proposals based on findings</a:t>
            </a:r>
          </a:p>
        </p:txBody>
      </p:sp>
      <p:sp>
        <p:nvSpPr>
          <p:cNvPr id="12" name="Rechteck 14">
            <a:extLst>
              <a:ext uri="{FF2B5EF4-FFF2-40B4-BE49-F238E27FC236}">
                <a16:creationId xmlns:a16="http://schemas.microsoft.com/office/drawing/2014/main" id="{40679165-B782-4365-8DEA-809489E778C1}"/>
              </a:ext>
            </a:extLst>
          </p:cNvPr>
          <p:cNvSpPr>
            <a:spLocks noChangeArrowheads="1"/>
          </p:cNvSpPr>
          <p:nvPr/>
        </p:nvSpPr>
        <p:spPr bwMode="auto">
          <a:xfrm>
            <a:off x="6403149" y="2035402"/>
            <a:ext cx="363387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In real life, tweets cannot easily be linked to a specific trip</a:t>
            </a:r>
          </a:p>
          <a:p>
            <a:pPr lvl="1" eaLnBrk="1" hangingPunct="1">
              <a:buClr>
                <a:srgbClr val="C21C1D"/>
              </a:buClr>
            </a:pPr>
            <a:r>
              <a:rPr lang="de-DE" altLang="de-DE" sz="1500" dirty="0">
                <a:solidFill>
                  <a:srgbClr val="000000"/>
                </a:solidFill>
              </a:rPr>
              <a:t>GDPR and data privacy</a:t>
            </a:r>
          </a:p>
          <a:p>
            <a:pPr lvl="1" eaLnBrk="1" hangingPunct="1">
              <a:buClr>
                <a:srgbClr val="C21C1D"/>
              </a:buClr>
            </a:pPr>
            <a:r>
              <a:rPr lang="de-DE" altLang="de-DE" sz="1500" dirty="0">
                <a:solidFill>
                  <a:srgbClr val="000000"/>
                </a:solidFill>
              </a:rPr>
              <a:t>NPS survey is linked to specific trip and not anonymous</a:t>
            </a:r>
          </a:p>
          <a:p>
            <a:pPr lvl="1" eaLnBrk="1" hangingPunct="1">
              <a:buClr>
                <a:srgbClr val="C21C1D"/>
              </a:buClr>
            </a:pPr>
            <a:endParaRPr lang="de-DE" altLang="de-DE" sz="1500" dirty="0">
              <a:solidFill>
                <a:srgbClr val="000000"/>
              </a:solidFill>
            </a:endParaRPr>
          </a:p>
        </p:txBody>
      </p:sp>
      <p:pic>
        <p:nvPicPr>
          <p:cNvPr id="1026" name="Picture 2" descr="attention clipart">
            <a:extLst>
              <a:ext uri="{FF2B5EF4-FFF2-40B4-BE49-F238E27FC236}">
                <a16:creationId xmlns:a16="http://schemas.microsoft.com/office/drawing/2014/main" id="{38FADE45-9CD4-4C05-B8D4-36FAD54AA7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40585" y="1745005"/>
            <a:ext cx="696410" cy="580795"/>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3">
            <a:extLst>
              <a:ext uri="{FF2B5EF4-FFF2-40B4-BE49-F238E27FC236}">
                <a16:creationId xmlns:a16="http://schemas.microsoft.com/office/drawing/2014/main" id="{AB92BE45-4F6E-46D9-A422-D9F962E98A79}"/>
              </a:ext>
            </a:extLst>
          </p:cNvPr>
          <p:cNvSpPr txBox="1"/>
          <p:nvPr/>
        </p:nvSpPr>
        <p:spPr>
          <a:xfrm>
            <a:off x="710229" y="1381863"/>
            <a:ext cx="2743200" cy="369332"/>
          </a:xfrm>
          <a:prstGeom prst="rect">
            <a:avLst/>
          </a:prstGeom>
          <a:noFill/>
        </p:spPr>
        <p:txBody>
          <a:bodyPr wrap="square" rtlCol="0">
            <a:spAutoFit/>
          </a:bodyPr>
          <a:lstStyle/>
          <a:p>
            <a:r>
              <a:rPr lang="de-DE" b="1" dirty="0"/>
              <a:t>Area for improvements</a:t>
            </a:r>
          </a:p>
        </p:txBody>
      </p:sp>
      <p:sp>
        <p:nvSpPr>
          <p:cNvPr id="17" name="Textfeld 13">
            <a:extLst>
              <a:ext uri="{FF2B5EF4-FFF2-40B4-BE49-F238E27FC236}">
                <a16:creationId xmlns:a16="http://schemas.microsoft.com/office/drawing/2014/main" id="{25B869D7-C423-4F53-A7FF-2A6FA1D7B703}"/>
              </a:ext>
            </a:extLst>
          </p:cNvPr>
          <p:cNvSpPr txBox="1"/>
          <p:nvPr/>
        </p:nvSpPr>
        <p:spPr>
          <a:xfrm>
            <a:off x="6403149" y="1381863"/>
            <a:ext cx="3633870" cy="369332"/>
          </a:xfrm>
          <a:prstGeom prst="rect">
            <a:avLst/>
          </a:prstGeom>
          <a:noFill/>
        </p:spPr>
        <p:txBody>
          <a:bodyPr wrap="square" rtlCol="0">
            <a:spAutoFit/>
          </a:bodyPr>
          <a:lstStyle/>
          <a:p>
            <a:r>
              <a:rPr lang="de-DE" b="1" dirty="0"/>
              <a:t>Feedback collection pitfalls</a:t>
            </a:r>
          </a:p>
        </p:txBody>
      </p:sp>
      <p:sp>
        <p:nvSpPr>
          <p:cNvPr id="18" name="Rechteck 14">
            <a:extLst>
              <a:ext uri="{FF2B5EF4-FFF2-40B4-BE49-F238E27FC236}">
                <a16:creationId xmlns:a16="http://schemas.microsoft.com/office/drawing/2014/main" id="{BD0E1F9F-BBD0-4671-AFFB-45DDF8814F87}"/>
              </a:ext>
            </a:extLst>
          </p:cNvPr>
          <p:cNvSpPr>
            <a:spLocks noChangeArrowheads="1"/>
          </p:cNvSpPr>
          <p:nvPr/>
        </p:nvSpPr>
        <p:spPr bwMode="auto">
          <a:xfrm>
            <a:off x="710229" y="1863663"/>
            <a:ext cx="5289355" cy="40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a:solidFill>
                  <a:srgbClr val="000000"/>
                </a:solidFill>
              </a:rPr>
              <a:t>„Close the loop“ for the detractors by calling all low scores to voice out their experience in order to gain more insight and for the customer to feel heard (phone number should be a mandatory field at subscription)</a:t>
            </a:r>
          </a:p>
          <a:p>
            <a:pPr lvl="1" eaLnBrk="1" hangingPunct="1">
              <a:buClr>
                <a:srgbClr val="C21C1D"/>
              </a:buClr>
            </a:pPr>
            <a:endParaRPr lang="de-DE" altLang="de-DE" sz="1500" dirty="0">
              <a:solidFill>
                <a:srgbClr val="000000"/>
              </a:solidFill>
            </a:endParaRPr>
          </a:p>
          <a:p>
            <a:pPr lvl="1" eaLnBrk="1" hangingPunct="1">
              <a:buClr>
                <a:srgbClr val="C21C1D"/>
              </a:buClr>
            </a:pPr>
            <a:r>
              <a:rPr lang="de-DE" altLang="de-DE" sz="1500" b="1" dirty="0">
                <a:solidFill>
                  <a:srgbClr val="000000"/>
                </a:solidFill>
              </a:rPr>
              <a:t>Feedback on flights</a:t>
            </a:r>
          </a:p>
          <a:p>
            <a:pPr lvl="1" eaLnBrk="1" hangingPunct="1">
              <a:buClr>
                <a:srgbClr val="C21C1D"/>
              </a:buClr>
            </a:pPr>
            <a:endParaRPr lang="de-DE" altLang="de-DE" sz="1500" b="1" dirty="0">
              <a:solidFill>
                <a:srgbClr val="000000"/>
              </a:solidFill>
            </a:endParaRPr>
          </a:p>
          <a:p>
            <a:pPr lvl="2" eaLnBrk="1" hangingPunct="1">
              <a:buClr>
                <a:srgbClr val="C21C1D"/>
              </a:buClr>
            </a:pPr>
            <a:r>
              <a:rPr lang="de-DE" altLang="de-DE" sz="1500" dirty="0">
                <a:solidFill>
                  <a:srgbClr val="000000"/>
                </a:solidFill>
              </a:rPr>
              <a:t>Audit the different airlines in portfolio - with a focus on flight punctuality, flight cancellation, luggage management &amp; customer service excellence</a:t>
            </a:r>
          </a:p>
          <a:p>
            <a:pPr lvl="2" eaLnBrk="1" hangingPunct="1">
              <a:buClr>
                <a:srgbClr val="C21C1D"/>
              </a:buClr>
              <a:buFont typeface="Wingdings" panose="05000000000000000000" pitchFamily="2" charset="2"/>
              <a:buChar char="à"/>
            </a:pPr>
            <a:r>
              <a:rPr lang="de-DE" altLang="de-DE" sz="1500" dirty="0">
                <a:solidFill>
                  <a:srgbClr val="000000"/>
                </a:solidFill>
              </a:rPr>
              <a:t>Only partner with best ones</a:t>
            </a:r>
          </a:p>
          <a:p>
            <a:pPr lvl="1" eaLnBrk="1" hangingPunct="1">
              <a:buClr>
                <a:srgbClr val="C21C1D"/>
              </a:buClr>
              <a:buFont typeface="Wingdings" panose="05000000000000000000" pitchFamily="2" charset="2"/>
              <a:buChar char="à"/>
            </a:pPr>
            <a:endParaRPr lang="de-DE" altLang="de-DE" sz="1500" dirty="0">
              <a:solidFill>
                <a:srgbClr val="000000"/>
              </a:solidFill>
            </a:endParaRPr>
          </a:p>
          <a:p>
            <a:pPr lvl="2" eaLnBrk="1" hangingPunct="1">
              <a:buClr>
                <a:srgbClr val="C21C1D"/>
              </a:buClr>
            </a:pPr>
            <a:r>
              <a:rPr lang="de-DE" altLang="de-DE" sz="1500" dirty="0">
                <a:solidFill>
                  <a:srgbClr val="000000"/>
                </a:solidFill>
              </a:rPr>
              <a:t>In case of long waiting times in airport, always have a playful (group) activity prepared, that is adapted to the age group</a:t>
            </a:r>
          </a:p>
          <a:p>
            <a:pPr lvl="1" eaLnBrk="1" hangingPunct="1">
              <a:buClr>
                <a:srgbClr val="C21C1D"/>
              </a:buClr>
            </a:pPr>
            <a:endParaRPr lang="de-DE" altLang="de-DE" sz="1500" dirty="0">
              <a:solidFill>
                <a:srgbClr val="000000"/>
              </a:solidFill>
            </a:endParaRPr>
          </a:p>
          <a:p>
            <a:pPr lvl="1" eaLnBrk="1" hangingPunct="1">
              <a:buClr>
                <a:srgbClr val="C21C1D"/>
              </a:buClr>
            </a:pPr>
            <a:endParaRPr lang="de-DE" altLang="de-DE" sz="1500" dirty="0">
              <a:solidFill>
                <a:srgbClr val="000000"/>
              </a:solidFill>
            </a:endParaRPr>
          </a:p>
        </p:txBody>
      </p:sp>
      <p:pic>
        <p:nvPicPr>
          <p:cNvPr id="22" name="Picture 8" descr="Satisfied Customers Tell Three Friends, Angry Customers Tell 3, 000:  Running a Business in Today's Consumer-Driven World: Blackshaw, Pete,  James, Lloyd: 9781400157310: Amazon.com: Books">
            <a:extLst>
              <a:ext uri="{FF2B5EF4-FFF2-40B4-BE49-F238E27FC236}">
                <a16:creationId xmlns:a16="http://schemas.microsoft.com/office/drawing/2014/main" id="{1178E989-8B83-4887-ACEE-8B3E749E31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9651" y="3779445"/>
            <a:ext cx="1299636" cy="175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9010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D107E38-6E0C-470B-AF57-5BC7068ACD13}"/>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lta from to grade (Roman)</a:t>
            </a:r>
          </a:p>
        </p:txBody>
      </p:sp>
    </p:spTree>
    <p:extLst>
      <p:ext uri="{BB962C8B-B14F-4D97-AF65-F5344CB8AC3E}">
        <p14:creationId xmlns:p14="http://schemas.microsoft.com/office/powerpoint/2010/main" val="2987205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D107E38-6E0C-470B-AF57-5BC7068ACD13}"/>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tal pax rev (Lee &amp; Oliver)</a:t>
            </a:r>
          </a:p>
        </p:txBody>
      </p:sp>
    </p:spTree>
    <p:extLst>
      <p:ext uri="{BB962C8B-B14F-4D97-AF65-F5344CB8AC3E}">
        <p14:creationId xmlns:p14="http://schemas.microsoft.com/office/powerpoint/2010/main" val="1301095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D107E38-6E0C-470B-AF57-5BC7068ACD13}"/>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r>
              <a:rPr lang="en-US" dirty="0" err="1"/>
              <a:t>SPR_Product_Type_East</a:t>
            </a:r>
            <a:r>
              <a:rPr lang="en-US" dirty="0"/>
              <a:t> Coast(Lee &amp; Oliver)</a:t>
            </a:r>
          </a:p>
        </p:txBody>
      </p:sp>
    </p:spTree>
    <p:extLst>
      <p:ext uri="{BB962C8B-B14F-4D97-AF65-F5344CB8AC3E}">
        <p14:creationId xmlns:p14="http://schemas.microsoft.com/office/powerpoint/2010/main" val="24161019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A8CD564-6A2D-4064-B9AD-DEC4A23B0A04}"/>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Key take </a:t>
            </a:r>
            <a:r>
              <a:rPr lang="en-US" dirty="0" err="1"/>
              <a:t>aways</a:t>
            </a:r>
            <a:endParaRPr lang="en-US" dirty="0"/>
          </a:p>
        </p:txBody>
      </p:sp>
    </p:spTree>
    <p:extLst>
      <p:ext uri="{BB962C8B-B14F-4D97-AF65-F5344CB8AC3E}">
        <p14:creationId xmlns:p14="http://schemas.microsoft.com/office/powerpoint/2010/main" val="717555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Group 1 composition &amp; how we worked together</a:t>
            </a:r>
          </a:p>
          <a:p>
            <a:endParaRPr lang="it-IT" sz="2000" b="1" dirty="0">
              <a:solidFill>
                <a:srgbClr val="752127"/>
              </a:solidFill>
            </a:endParaRPr>
          </a:p>
        </p:txBody>
      </p:sp>
      <p:sp>
        <p:nvSpPr>
          <p:cNvPr id="2" name="Oval 1">
            <a:extLst>
              <a:ext uri="{FF2B5EF4-FFF2-40B4-BE49-F238E27FC236}">
                <a16:creationId xmlns:a16="http://schemas.microsoft.com/office/drawing/2014/main" id="{3CC5C1B2-F9C5-4BE0-B316-D7473F4CBEE7}"/>
              </a:ext>
            </a:extLst>
          </p:cNvPr>
          <p:cNvSpPr/>
          <p:nvPr/>
        </p:nvSpPr>
        <p:spPr>
          <a:xfrm>
            <a:off x="126957"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93EF6924-1207-45D5-B9B9-C9DD6336FDE7}"/>
              </a:ext>
            </a:extLst>
          </p:cNvPr>
          <p:cNvSpPr/>
          <p:nvPr/>
        </p:nvSpPr>
        <p:spPr>
          <a:xfrm>
            <a:off x="4148639"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08CEB1B-7CC3-46D7-AF7E-E481C18A6A3F}"/>
              </a:ext>
            </a:extLst>
          </p:cNvPr>
          <p:cNvSpPr/>
          <p:nvPr/>
        </p:nvSpPr>
        <p:spPr>
          <a:xfrm>
            <a:off x="8170321"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90E8C09-101B-4FED-B231-8766CC8E7FEC}"/>
              </a:ext>
            </a:extLst>
          </p:cNvPr>
          <p:cNvSpPr/>
          <p:nvPr/>
        </p:nvSpPr>
        <p:spPr>
          <a:xfrm>
            <a:off x="2137798"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350D11FA-A7AD-449D-A6DE-8D0EB26F9F63}"/>
              </a:ext>
            </a:extLst>
          </p:cNvPr>
          <p:cNvSpPr/>
          <p:nvPr/>
        </p:nvSpPr>
        <p:spPr>
          <a:xfrm>
            <a:off x="6159480"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uadro de texto 58">
            <a:extLst>
              <a:ext uri="{FF2B5EF4-FFF2-40B4-BE49-F238E27FC236}">
                <a16:creationId xmlns:a16="http://schemas.microsoft.com/office/drawing/2014/main" id="{0899BEDC-A902-48D2-A249-9080B936C86B}"/>
              </a:ext>
            </a:extLst>
          </p:cNvPr>
          <p:cNvSpPr txBox="1">
            <a:spLocks/>
          </p:cNvSpPr>
          <p:nvPr/>
        </p:nvSpPr>
        <p:spPr>
          <a:xfrm>
            <a:off x="96729"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Sebastián Catalán Fuica</a:t>
            </a:r>
          </a:p>
          <a:p>
            <a:pPr lvl="0" algn="ctr">
              <a:defRPr/>
            </a:pPr>
            <a:r>
              <a:rPr lang="it-IT" sz="1400" dirty="0">
                <a:solidFill>
                  <a:prstClr val="black"/>
                </a:solidFill>
                <a:ea typeface="MS Mincho" panose="02020609040205080304" pitchFamily="49" charset="-128"/>
                <a:cs typeface="Times New Roman" panose="02020603050405020304" pitchFamily="18" charset="0"/>
              </a:rPr>
              <a:t>Role</a:t>
            </a:r>
          </a:p>
          <a:p>
            <a:pPr lvl="0" algn="ctr">
              <a:defRPr/>
            </a:pPr>
            <a:r>
              <a:rPr lang="it-IT" sz="1400" dirty="0">
                <a:solidFill>
                  <a:prstClr val="black"/>
                </a:solidFill>
                <a:ea typeface="MS Mincho" panose="02020609040205080304" pitchFamily="49" charset="-128"/>
                <a:cs typeface="Times New Roman" panose="02020603050405020304" pitchFamily="18" charset="0"/>
              </a:rPr>
              <a:t>Afp Planvital Chile</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0" name="Oval 9">
            <a:extLst>
              <a:ext uri="{FF2B5EF4-FFF2-40B4-BE49-F238E27FC236}">
                <a16:creationId xmlns:a16="http://schemas.microsoft.com/office/drawing/2014/main" id="{10054D07-E46F-40D6-857C-A3D98918454A}"/>
              </a:ext>
            </a:extLst>
          </p:cNvPr>
          <p:cNvSpPr/>
          <p:nvPr/>
        </p:nvSpPr>
        <p:spPr>
          <a:xfrm>
            <a:off x="10181162" y="2126256"/>
            <a:ext cx="1883884" cy="1773716"/>
          </a:xfrm>
          <a:prstGeom prst="ellipse">
            <a:avLst/>
          </a:prstGeom>
          <a:noFill/>
          <a:ln w="38100">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uadro de texto 58">
            <a:extLst>
              <a:ext uri="{FF2B5EF4-FFF2-40B4-BE49-F238E27FC236}">
                <a16:creationId xmlns:a16="http://schemas.microsoft.com/office/drawing/2014/main" id="{C5709DD1-A1C6-48DC-A3D0-8A59591C6CDF}"/>
              </a:ext>
            </a:extLst>
          </p:cNvPr>
          <p:cNvSpPr txBox="1">
            <a:spLocks/>
          </p:cNvSpPr>
          <p:nvPr/>
        </p:nvSpPr>
        <p:spPr>
          <a:xfrm>
            <a:off x="210757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loriane Hernalsteens</a:t>
            </a:r>
          </a:p>
          <a:p>
            <a:pPr lvl="0" algn="ctr">
              <a:defRPr/>
            </a:pPr>
            <a:r>
              <a:rPr lang="it-IT" sz="1400" dirty="0">
                <a:solidFill>
                  <a:prstClr val="black"/>
                </a:solidFill>
                <a:ea typeface="MS Mincho" panose="02020609040205080304" pitchFamily="49" charset="-128"/>
                <a:cs typeface="Times New Roman" panose="02020603050405020304" pitchFamily="18" charset="0"/>
              </a:rPr>
              <a:t>Role</a:t>
            </a:r>
          </a:p>
          <a:p>
            <a:pPr lvl="0" algn="ctr">
              <a:defRPr/>
            </a:pPr>
            <a:r>
              <a:rPr lang="it-IT" sz="1400" dirty="0">
                <a:solidFill>
                  <a:prstClr val="black"/>
                </a:solidFill>
                <a:ea typeface="MS Mincho" panose="02020609040205080304" pitchFamily="49" charset="-128"/>
                <a:cs typeface="Times New Roman" panose="02020603050405020304" pitchFamily="18" charset="0"/>
              </a:rPr>
              <a:t>Europ Assistance Belgium</a:t>
            </a:r>
            <a:endParaRPr lang="en-US" sz="1400" dirty="0">
              <a:solidFill>
                <a:prstClr val="black"/>
              </a:solidFill>
              <a:ea typeface="MS Mincho" panose="02020609040205080304" pitchFamily="49" charset="-128"/>
              <a:cs typeface="Times New Roman" panose="02020603050405020304" pitchFamily="18" charset="0"/>
            </a:endParaRPr>
          </a:p>
        </p:txBody>
      </p:sp>
      <p:sp>
        <p:nvSpPr>
          <p:cNvPr id="14" name="Cuadro de texto 58">
            <a:extLst>
              <a:ext uri="{FF2B5EF4-FFF2-40B4-BE49-F238E27FC236}">
                <a16:creationId xmlns:a16="http://schemas.microsoft.com/office/drawing/2014/main" id="{B251CB5D-FC80-4693-8C17-150C777226AD}"/>
              </a:ext>
            </a:extLst>
          </p:cNvPr>
          <p:cNvSpPr txBox="1">
            <a:spLocks/>
          </p:cNvSpPr>
          <p:nvPr/>
        </p:nvSpPr>
        <p:spPr>
          <a:xfrm>
            <a:off x="4118411"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Roman Hospodá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Czech Republic</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5" name="Cuadro de texto 58">
            <a:extLst>
              <a:ext uri="{FF2B5EF4-FFF2-40B4-BE49-F238E27FC236}">
                <a16:creationId xmlns:a16="http://schemas.microsoft.com/office/drawing/2014/main" id="{5AFC64E7-F785-49AA-B5E6-47B97215E571}"/>
              </a:ext>
            </a:extLst>
          </p:cNvPr>
          <p:cNvSpPr txBox="1">
            <a:spLocks/>
          </p:cNvSpPr>
          <p:nvPr/>
        </p:nvSpPr>
        <p:spPr>
          <a:xfrm>
            <a:off x="6129252"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Oliver Manara</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German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6" name="Cuadro de texto 58">
            <a:extLst>
              <a:ext uri="{FF2B5EF4-FFF2-40B4-BE49-F238E27FC236}">
                <a16:creationId xmlns:a16="http://schemas.microsoft.com/office/drawing/2014/main" id="{11E47EF7-53C5-4490-9216-2B3373BB2C54}"/>
              </a:ext>
            </a:extLst>
          </p:cNvPr>
          <p:cNvSpPr txBox="1">
            <a:spLocks/>
          </p:cNvSpPr>
          <p:nvPr/>
        </p:nvSpPr>
        <p:spPr>
          <a:xfrm>
            <a:off x="8140090"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Federico Sportelli</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Italy</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7" name="Cuadro de texto 58">
            <a:extLst>
              <a:ext uri="{FF2B5EF4-FFF2-40B4-BE49-F238E27FC236}">
                <a16:creationId xmlns:a16="http://schemas.microsoft.com/office/drawing/2014/main" id="{7E509E72-9DED-4379-B86C-B39829F78583}"/>
              </a:ext>
            </a:extLst>
          </p:cNvPr>
          <p:cNvSpPr txBox="1">
            <a:spLocks/>
          </p:cNvSpPr>
          <p:nvPr/>
        </p:nvSpPr>
        <p:spPr>
          <a:xfrm>
            <a:off x="10150934" y="4449187"/>
            <a:ext cx="1944340" cy="684673"/>
          </a:xfrm>
          <a:prstGeom prst="rect">
            <a:avLst/>
          </a:prstGeom>
          <a:no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it-IT" sz="1400" b="1" dirty="0">
                <a:solidFill>
                  <a:prstClr val="black"/>
                </a:solidFill>
                <a:ea typeface="MS Mincho" panose="02020609040205080304" pitchFamily="49" charset="-128"/>
                <a:cs typeface="Times New Roman" panose="02020603050405020304" pitchFamily="18" charset="0"/>
              </a:rPr>
              <a:t>Lee Thompson</a:t>
            </a:r>
          </a:p>
          <a:p>
            <a:pPr lvl="0" algn="ctr">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R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Generali UK</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8" name="Cuadro de texto 58">
            <a:extLst>
              <a:ext uri="{FF2B5EF4-FFF2-40B4-BE49-F238E27FC236}">
                <a16:creationId xmlns:a16="http://schemas.microsoft.com/office/drawing/2014/main" id="{7E535DF9-7328-4181-B21A-2F1F9E7509E3}"/>
              </a:ext>
            </a:extLst>
          </p:cNvPr>
          <p:cNvSpPr txBox="1">
            <a:spLocks/>
          </p:cNvSpPr>
          <p:nvPr/>
        </p:nvSpPr>
        <p:spPr>
          <a:xfrm>
            <a:off x="9672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19" name="Cuadro de texto 58">
            <a:extLst>
              <a:ext uri="{FF2B5EF4-FFF2-40B4-BE49-F238E27FC236}">
                <a16:creationId xmlns:a16="http://schemas.microsoft.com/office/drawing/2014/main" id="{8C0B60E9-873C-44B2-908B-CDDEA4A33923}"/>
              </a:ext>
            </a:extLst>
          </p:cNvPr>
          <p:cNvSpPr txBox="1">
            <a:spLocks/>
          </p:cNvSpPr>
          <p:nvPr/>
        </p:nvSpPr>
        <p:spPr>
          <a:xfrm>
            <a:off x="211576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0" name="Cuadro de texto 58">
            <a:extLst>
              <a:ext uri="{FF2B5EF4-FFF2-40B4-BE49-F238E27FC236}">
                <a16:creationId xmlns:a16="http://schemas.microsoft.com/office/drawing/2014/main" id="{D60DEAFD-5102-434E-BE3C-253178AEF2DB}"/>
              </a:ext>
            </a:extLst>
          </p:cNvPr>
          <p:cNvSpPr txBox="1">
            <a:spLocks/>
          </p:cNvSpPr>
          <p:nvPr/>
        </p:nvSpPr>
        <p:spPr>
          <a:xfrm>
            <a:off x="41186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1" name="Cuadro de texto 58">
            <a:extLst>
              <a:ext uri="{FF2B5EF4-FFF2-40B4-BE49-F238E27FC236}">
                <a16:creationId xmlns:a16="http://schemas.microsoft.com/office/drawing/2014/main" id="{292B20F6-28B7-4349-B195-A3ED551F5D67}"/>
              </a:ext>
            </a:extLst>
          </p:cNvPr>
          <p:cNvSpPr txBox="1">
            <a:spLocks/>
          </p:cNvSpPr>
          <p:nvPr/>
        </p:nvSpPr>
        <p:spPr>
          <a:xfrm>
            <a:off x="614046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2" name="Cuadro de texto 58">
            <a:extLst>
              <a:ext uri="{FF2B5EF4-FFF2-40B4-BE49-F238E27FC236}">
                <a16:creationId xmlns:a16="http://schemas.microsoft.com/office/drawing/2014/main" id="{0649794C-1985-41F4-87F4-127427124605}"/>
              </a:ext>
            </a:extLst>
          </p:cNvPr>
          <p:cNvSpPr txBox="1">
            <a:spLocks/>
          </p:cNvSpPr>
          <p:nvPr/>
        </p:nvSpPr>
        <p:spPr>
          <a:xfrm>
            <a:off x="8151509"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sp>
        <p:nvSpPr>
          <p:cNvPr id="23" name="Cuadro de texto 58">
            <a:extLst>
              <a:ext uri="{FF2B5EF4-FFF2-40B4-BE49-F238E27FC236}">
                <a16:creationId xmlns:a16="http://schemas.microsoft.com/office/drawing/2014/main" id="{6EE1DD28-9C4F-43A6-8E3F-95B0E0705EA6}"/>
              </a:ext>
            </a:extLst>
          </p:cNvPr>
          <p:cNvSpPr txBox="1">
            <a:spLocks/>
          </p:cNvSpPr>
          <p:nvPr/>
        </p:nvSpPr>
        <p:spPr>
          <a:xfrm>
            <a:off x="10148111" y="2670777"/>
            <a:ext cx="1944340" cy="684673"/>
          </a:xfrm>
          <a:prstGeom prst="rect">
            <a:avLst/>
          </a:prstGeom>
          <a:noFill/>
          <a:ln>
            <a:noFill/>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ADD PROFI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PICTURE</a:t>
            </a:r>
            <a:endParaRPr kumimoji="0" lang="en-US" sz="14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endParaRPr>
          </a:p>
        </p:txBody>
      </p:sp>
      <p:pic>
        <p:nvPicPr>
          <p:cNvPr id="4" name="Picture 3">
            <a:extLst>
              <a:ext uri="{FF2B5EF4-FFF2-40B4-BE49-F238E27FC236}">
                <a16:creationId xmlns:a16="http://schemas.microsoft.com/office/drawing/2014/main" id="{5F42F142-18B3-4125-8AC4-B5AF419B1FED}"/>
              </a:ext>
            </a:extLst>
          </p:cNvPr>
          <p:cNvPicPr>
            <a:picLocks noChangeAspect="1"/>
          </p:cNvPicPr>
          <p:nvPr/>
        </p:nvPicPr>
        <p:blipFill>
          <a:blip r:embed="rId3"/>
          <a:stretch>
            <a:fillRect/>
          </a:stretch>
        </p:blipFill>
        <p:spPr>
          <a:xfrm>
            <a:off x="448940" y="2391877"/>
            <a:ext cx="1239917" cy="1215971"/>
          </a:xfrm>
          <a:prstGeom prst="rect">
            <a:avLst/>
          </a:prstGeom>
        </p:spPr>
      </p:pic>
      <p:pic>
        <p:nvPicPr>
          <p:cNvPr id="11" name="Picture 10">
            <a:extLst>
              <a:ext uri="{FF2B5EF4-FFF2-40B4-BE49-F238E27FC236}">
                <a16:creationId xmlns:a16="http://schemas.microsoft.com/office/drawing/2014/main" id="{32CFBD52-480F-4F39-9FE8-6CCBF5820ACC}"/>
              </a:ext>
            </a:extLst>
          </p:cNvPr>
          <p:cNvPicPr>
            <a:picLocks noChangeAspect="1"/>
          </p:cNvPicPr>
          <p:nvPr/>
        </p:nvPicPr>
        <p:blipFill>
          <a:blip r:embed="rId4"/>
          <a:stretch>
            <a:fillRect/>
          </a:stretch>
        </p:blipFill>
        <p:spPr>
          <a:xfrm>
            <a:off x="2467503" y="2391877"/>
            <a:ext cx="1240856" cy="1216152"/>
          </a:xfrm>
          <a:prstGeom prst="rect">
            <a:avLst/>
          </a:prstGeom>
        </p:spPr>
      </p:pic>
      <p:pic>
        <p:nvPicPr>
          <p:cNvPr id="12" name="Picture 11">
            <a:extLst>
              <a:ext uri="{FF2B5EF4-FFF2-40B4-BE49-F238E27FC236}">
                <a16:creationId xmlns:a16="http://schemas.microsoft.com/office/drawing/2014/main" id="{9A00BC9C-24D8-41C2-90DF-1BEC095C0DDB}"/>
              </a:ext>
            </a:extLst>
          </p:cNvPr>
          <p:cNvPicPr>
            <a:picLocks noChangeAspect="1"/>
          </p:cNvPicPr>
          <p:nvPr/>
        </p:nvPicPr>
        <p:blipFill>
          <a:blip r:embed="rId5"/>
          <a:stretch>
            <a:fillRect/>
          </a:stretch>
        </p:blipFill>
        <p:spPr>
          <a:xfrm>
            <a:off x="4464222" y="2416375"/>
            <a:ext cx="1252717" cy="1212227"/>
          </a:xfrm>
          <a:prstGeom prst="rect">
            <a:avLst/>
          </a:prstGeom>
        </p:spPr>
      </p:pic>
      <p:pic>
        <p:nvPicPr>
          <p:cNvPr id="26" name="Picture 25">
            <a:extLst>
              <a:ext uri="{FF2B5EF4-FFF2-40B4-BE49-F238E27FC236}">
                <a16:creationId xmlns:a16="http://schemas.microsoft.com/office/drawing/2014/main" id="{D06F9E93-33DF-44F9-A66E-F8D72B79044F}"/>
              </a:ext>
            </a:extLst>
          </p:cNvPr>
          <p:cNvPicPr>
            <a:picLocks noChangeAspect="1"/>
          </p:cNvPicPr>
          <p:nvPr/>
        </p:nvPicPr>
        <p:blipFill>
          <a:blip r:embed="rId6"/>
          <a:stretch>
            <a:fillRect/>
          </a:stretch>
        </p:blipFill>
        <p:spPr>
          <a:xfrm>
            <a:off x="6492588" y="2414413"/>
            <a:ext cx="1240101" cy="1216152"/>
          </a:xfrm>
          <a:prstGeom prst="rect">
            <a:avLst/>
          </a:prstGeom>
        </p:spPr>
      </p:pic>
      <p:pic>
        <p:nvPicPr>
          <p:cNvPr id="28" name="Picture 27">
            <a:extLst>
              <a:ext uri="{FF2B5EF4-FFF2-40B4-BE49-F238E27FC236}">
                <a16:creationId xmlns:a16="http://schemas.microsoft.com/office/drawing/2014/main" id="{F69D10B2-5B53-4980-8ED9-BD77E371377B}"/>
              </a:ext>
            </a:extLst>
          </p:cNvPr>
          <p:cNvPicPr>
            <a:picLocks noChangeAspect="1"/>
          </p:cNvPicPr>
          <p:nvPr/>
        </p:nvPicPr>
        <p:blipFill>
          <a:blip r:embed="rId7"/>
          <a:stretch>
            <a:fillRect/>
          </a:stretch>
        </p:blipFill>
        <p:spPr>
          <a:xfrm>
            <a:off x="8501727" y="2414413"/>
            <a:ext cx="1216152" cy="1204029"/>
          </a:xfrm>
          <a:prstGeom prst="rect">
            <a:avLst/>
          </a:prstGeom>
        </p:spPr>
      </p:pic>
      <p:pic>
        <p:nvPicPr>
          <p:cNvPr id="29" name="Picture 28">
            <a:extLst>
              <a:ext uri="{FF2B5EF4-FFF2-40B4-BE49-F238E27FC236}">
                <a16:creationId xmlns:a16="http://schemas.microsoft.com/office/drawing/2014/main" id="{0F94B2F6-4FDA-42E5-807E-57B69E4D31DB}"/>
              </a:ext>
            </a:extLst>
          </p:cNvPr>
          <p:cNvPicPr>
            <a:picLocks noChangeAspect="1"/>
          </p:cNvPicPr>
          <p:nvPr/>
        </p:nvPicPr>
        <p:blipFill>
          <a:blip r:embed="rId8"/>
          <a:stretch>
            <a:fillRect/>
          </a:stretch>
        </p:blipFill>
        <p:spPr>
          <a:xfrm>
            <a:off x="10512205" y="2418195"/>
            <a:ext cx="1216152" cy="1189834"/>
          </a:xfrm>
          <a:prstGeom prst="rect">
            <a:avLst/>
          </a:prstGeom>
        </p:spPr>
      </p:pic>
      <p:sp>
        <p:nvSpPr>
          <p:cNvPr id="30" name="Title 4">
            <a:extLst>
              <a:ext uri="{FF2B5EF4-FFF2-40B4-BE49-F238E27FC236}">
                <a16:creationId xmlns:a16="http://schemas.microsoft.com/office/drawing/2014/main" id="{46AFD74F-6AE2-4926-A06E-852688462454}"/>
              </a:ext>
            </a:extLst>
          </p:cNvPr>
          <p:cNvSpPr txBox="1">
            <a:spLocks/>
          </p:cNvSpPr>
          <p:nvPr/>
        </p:nvSpPr>
        <p:spPr>
          <a:xfrm>
            <a:off x="3551871" y="5730651"/>
            <a:ext cx="6502334"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Arial" panose="020B0604020202020204" pitchFamily="34" charset="0"/>
              <a:buChar char="•"/>
            </a:pPr>
            <a:r>
              <a:rPr lang="en-US" sz="1400" dirty="0">
                <a:solidFill>
                  <a:srgbClr val="752127"/>
                </a:solidFill>
              </a:rPr>
              <a:t>Weekly team meetings (1x or 2x a week)</a:t>
            </a:r>
          </a:p>
          <a:p>
            <a:pPr marL="285750" indent="-285750">
              <a:buFont typeface="Arial" panose="020B0604020202020204" pitchFamily="34" charset="0"/>
              <a:buChar char="•"/>
            </a:pPr>
            <a:r>
              <a:rPr lang="en-US" sz="1400" dirty="0">
                <a:solidFill>
                  <a:srgbClr val="752127"/>
                </a:solidFill>
              </a:rPr>
              <a:t>Teams channel, </a:t>
            </a:r>
            <a:r>
              <a:rPr lang="en-US" sz="1400" dirty="0" err="1">
                <a:solidFill>
                  <a:srgbClr val="752127"/>
                </a:solidFill>
              </a:rPr>
              <a:t>Github</a:t>
            </a:r>
            <a:r>
              <a:rPr lang="en-US" sz="1400" dirty="0">
                <a:solidFill>
                  <a:srgbClr val="752127"/>
                </a:solidFill>
              </a:rPr>
              <a:t> repository &amp; </a:t>
            </a:r>
            <a:r>
              <a:rPr lang="en-US" sz="1400" dirty="0" err="1">
                <a:solidFill>
                  <a:srgbClr val="752127"/>
                </a:solidFill>
              </a:rPr>
              <a:t>Whatsapp</a:t>
            </a:r>
            <a:r>
              <a:rPr lang="en-US" sz="1400" dirty="0">
                <a:solidFill>
                  <a:srgbClr val="752127"/>
                </a:solidFill>
              </a:rPr>
              <a:t> group</a:t>
            </a:r>
          </a:p>
          <a:p>
            <a:pPr marL="285750" indent="-285750">
              <a:buFont typeface="Arial" panose="020B0604020202020204" pitchFamily="34" charset="0"/>
              <a:buChar char="•"/>
            </a:pPr>
            <a:r>
              <a:rPr lang="en-US" sz="1400" dirty="0">
                <a:solidFill>
                  <a:srgbClr val="752127"/>
                </a:solidFill>
              </a:rPr>
              <a:t>Work division according to level of expertise &amp; interest</a:t>
            </a:r>
          </a:p>
        </p:txBody>
      </p:sp>
      <p:sp>
        <p:nvSpPr>
          <p:cNvPr id="31" name="Rectangle: Rounded Corners 30">
            <a:extLst>
              <a:ext uri="{FF2B5EF4-FFF2-40B4-BE49-F238E27FC236}">
                <a16:creationId xmlns:a16="http://schemas.microsoft.com/office/drawing/2014/main" id="{12650C0C-3ABE-42E6-8D66-1E7DD97B780C}"/>
              </a:ext>
            </a:extLst>
          </p:cNvPr>
          <p:cNvSpPr/>
          <p:nvPr/>
        </p:nvSpPr>
        <p:spPr>
          <a:xfrm>
            <a:off x="9590061" y="661996"/>
            <a:ext cx="1530220"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dapt roles</a:t>
            </a:r>
          </a:p>
        </p:txBody>
      </p:sp>
    </p:spTree>
    <p:extLst>
      <p:ext uri="{BB962C8B-B14F-4D97-AF65-F5344CB8AC3E}">
        <p14:creationId xmlns:p14="http://schemas.microsoft.com/office/powerpoint/2010/main" val="890566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p>
          <a:p>
            <a:endParaRPr lang="it-IT" sz="2000" b="1" dirty="0">
              <a:solidFill>
                <a:srgbClr val="752127"/>
              </a:solidFill>
            </a:endParaRPr>
          </a:p>
          <a:p>
            <a:r>
              <a:rPr lang="it-IT" sz="2600" b="1" dirty="0">
                <a:solidFill>
                  <a:srgbClr val="752127"/>
                </a:solidFill>
              </a:rPr>
              <a:t>«How to </a:t>
            </a:r>
            <a:r>
              <a:rPr lang="it-IT" sz="2600" b="1" dirty="0" err="1">
                <a:solidFill>
                  <a:srgbClr val="752127"/>
                </a:solidFill>
              </a:rPr>
              <a:t>increase</a:t>
            </a:r>
            <a:r>
              <a:rPr lang="it-IT" sz="2600" b="1" dirty="0">
                <a:solidFill>
                  <a:srgbClr val="752127"/>
                </a:solidFill>
              </a:rPr>
              <a:t> the customer </a:t>
            </a:r>
            <a:r>
              <a:rPr lang="it-IT" sz="2600" b="1" dirty="0" err="1">
                <a:solidFill>
                  <a:srgbClr val="752127"/>
                </a:solidFill>
              </a:rPr>
              <a:t>retention</a:t>
            </a:r>
            <a:r>
              <a:rPr lang="it-IT" sz="2600" b="1" dirty="0">
                <a:solidFill>
                  <a:srgbClr val="752127"/>
                </a:solidFill>
              </a:rPr>
              <a:t> for a travel agency»</a:t>
            </a:r>
          </a:p>
        </p:txBody>
      </p:sp>
      <p:cxnSp>
        <p:nvCxnSpPr>
          <p:cNvPr id="4" name="AutoShape 23">
            <a:extLst>
              <a:ext uri="{FF2B5EF4-FFF2-40B4-BE49-F238E27FC236}">
                <a16:creationId xmlns:a16="http://schemas.microsoft.com/office/drawing/2014/main" id="{04EAAADD-64C3-49C2-A6D2-47B3B00ABB74}"/>
              </a:ext>
            </a:extLst>
          </p:cNvPr>
          <p:cNvCxnSpPr>
            <a:cxnSpLocks noChangeShapeType="1"/>
          </p:cNvCxnSpPr>
          <p:nvPr/>
        </p:nvCxnSpPr>
        <p:spPr bwMode="auto">
          <a:xfrm flipH="1">
            <a:off x="3263304" y="3945772"/>
            <a:ext cx="6473038"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cxnSp>
        <p:nvCxnSpPr>
          <p:cNvPr id="5" name="AutoShape 23">
            <a:extLst>
              <a:ext uri="{FF2B5EF4-FFF2-40B4-BE49-F238E27FC236}">
                <a16:creationId xmlns:a16="http://schemas.microsoft.com/office/drawing/2014/main" id="{BF63560B-1921-4A78-BBF3-3205ADE9756C}"/>
              </a:ext>
            </a:extLst>
          </p:cNvPr>
          <p:cNvCxnSpPr>
            <a:cxnSpLocks noChangeShapeType="1"/>
          </p:cNvCxnSpPr>
          <p:nvPr/>
        </p:nvCxnSpPr>
        <p:spPr bwMode="auto">
          <a:xfrm flipH="1">
            <a:off x="3354026" y="6072234"/>
            <a:ext cx="6478037" cy="0"/>
          </a:xfrm>
          <a:prstGeom prst="straightConnector1">
            <a:avLst/>
          </a:prstGeom>
          <a:noFill/>
          <a:ln w="25400">
            <a:solidFill>
              <a:srgbClr val="C21C1D"/>
            </a:solidFill>
            <a:round/>
            <a:headEnd/>
            <a:tailEnd/>
          </a:ln>
          <a:extLst>
            <a:ext uri="{909E8E84-426E-40DD-AFC4-6F175D3DCCD1}">
              <a14:hiddenFill xmlns:a14="http://schemas.microsoft.com/office/drawing/2010/main">
                <a:noFill/>
              </a14:hiddenFill>
            </a:ext>
          </a:extLst>
        </p:spPr>
      </p:cxnSp>
      <p:sp>
        <p:nvSpPr>
          <p:cNvPr id="6" name="Rechteck 14">
            <a:extLst>
              <a:ext uri="{FF2B5EF4-FFF2-40B4-BE49-F238E27FC236}">
                <a16:creationId xmlns:a16="http://schemas.microsoft.com/office/drawing/2014/main" id="{F5C17855-160C-42D5-81C4-5E32F24B57D9}"/>
              </a:ext>
            </a:extLst>
          </p:cNvPr>
          <p:cNvSpPr>
            <a:spLocks noChangeArrowheads="1"/>
          </p:cNvSpPr>
          <p:nvPr/>
        </p:nvSpPr>
        <p:spPr bwMode="auto">
          <a:xfrm>
            <a:off x="3263304" y="4264750"/>
            <a:ext cx="6568759"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marL="342900" lvl="1" indent="-342900" eaLnBrk="1" hangingPunct="1">
              <a:buClr>
                <a:srgbClr val="C21C1D"/>
              </a:buClr>
              <a:buAutoNum type="arabicParenR"/>
            </a:pP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build</a:t>
            </a:r>
            <a:r>
              <a:rPr lang="de-DE" altLang="de-DE" sz="1500" dirty="0">
                <a:solidFill>
                  <a:srgbClr val="000000"/>
                </a:solidFill>
              </a:rPr>
              <a:t> a </a:t>
            </a:r>
            <a:r>
              <a:rPr lang="de-DE" altLang="de-DE" sz="1500" dirty="0" err="1">
                <a:solidFill>
                  <a:srgbClr val="000000"/>
                </a:solidFill>
              </a:rPr>
              <a:t>modell</a:t>
            </a:r>
            <a:r>
              <a:rPr lang="de-DE" altLang="de-DE" sz="1500" dirty="0">
                <a:solidFill>
                  <a:srgbClr val="000000"/>
                </a:solidFill>
              </a:rPr>
              <a:t> </a:t>
            </a:r>
            <a:r>
              <a:rPr lang="de-DE" altLang="de-DE" sz="1500" dirty="0" err="1">
                <a:solidFill>
                  <a:srgbClr val="000000"/>
                </a:solidFill>
              </a:rPr>
              <a:t>using</a:t>
            </a:r>
            <a:r>
              <a:rPr lang="de-DE" altLang="de-DE" sz="1500" dirty="0">
                <a:solidFill>
                  <a:srgbClr val="000000"/>
                </a:solidFill>
              </a:rPr>
              <a:t> </a:t>
            </a:r>
            <a:r>
              <a:rPr lang="de-DE" altLang="de-DE" sz="1500" dirty="0" err="1">
                <a:solidFill>
                  <a:srgbClr val="000000"/>
                </a:solidFill>
              </a:rPr>
              <a:t>statistical</a:t>
            </a:r>
            <a:r>
              <a:rPr lang="de-DE" altLang="de-DE" sz="1500" dirty="0">
                <a:solidFill>
                  <a:srgbClr val="000000"/>
                </a:solidFill>
              </a:rPr>
              <a:t> </a:t>
            </a:r>
            <a:r>
              <a:rPr lang="de-DE" altLang="de-DE" sz="1500" dirty="0" err="1">
                <a:solidFill>
                  <a:srgbClr val="000000"/>
                </a:solidFill>
              </a:rPr>
              <a:t>method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predict</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robability</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 </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booking</a:t>
            </a:r>
            <a:r>
              <a:rPr lang="de-DE" altLang="de-DE" sz="1500" dirty="0">
                <a:solidFill>
                  <a:srgbClr val="000000"/>
                </a:solidFill>
              </a:rPr>
              <a:t> </a:t>
            </a:r>
            <a:r>
              <a:rPr lang="de-DE" altLang="de-DE" sz="1500" dirty="0" err="1">
                <a:solidFill>
                  <a:srgbClr val="000000"/>
                </a:solidFill>
              </a:rPr>
              <a:t>again</a:t>
            </a:r>
            <a:r>
              <a:rPr lang="de-DE" altLang="de-DE" sz="1500" dirty="0">
                <a:solidFill>
                  <a:srgbClr val="000000"/>
                </a:solidFill>
              </a:rPr>
              <a:t> a </a:t>
            </a:r>
            <a:r>
              <a:rPr lang="de-DE" altLang="de-DE" sz="1500" dirty="0" err="1">
                <a:solidFill>
                  <a:srgbClr val="000000"/>
                </a:solidFill>
              </a:rPr>
              <a:t>trip</a:t>
            </a:r>
            <a:r>
              <a:rPr lang="de-DE" altLang="de-DE" sz="1500" dirty="0">
                <a:solidFill>
                  <a:srgbClr val="000000"/>
                </a:solidFill>
              </a:rPr>
              <a:t> </a:t>
            </a:r>
            <a:r>
              <a:rPr lang="de-DE" altLang="de-DE" sz="1500" dirty="0" err="1">
                <a:solidFill>
                  <a:srgbClr val="000000"/>
                </a:solidFill>
              </a:rPr>
              <a:t>based</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behavior</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similar</a:t>
            </a:r>
            <a:r>
              <a:rPr lang="de-DE" altLang="de-DE" sz="1500" dirty="0">
                <a:solidFill>
                  <a:srgbClr val="000000"/>
                </a:solidFill>
              </a:rPr>
              <a:t> </a:t>
            </a:r>
            <a:r>
              <a:rPr lang="de-DE" altLang="de-DE" sz="1500" dirty="0" err="1">
                <a:solidFill>
                  <a:srgbClr val="000000"/>
                </a:solidFill>
              </a:rPr>
              <a:t>clients</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ast</a:t>
            </a:r>
            <a:br>
              <a:rPr lang="de-DE" altLang="de-DE" sz="1500" dirty="0">
                <a:solidFill>
                  <a:srgbClr val="000000"/>
                </a:solidFill>
              </a:rPr>
            </a:br>
            <a:endParaRPr lang="de-DE" altLang="de-DE" sz="1500" dirty="0">
              <a:solidFill>
                <a:srgbClr val="000000"/>
              </a:solidFill>
            </a:endParaRPr>
          </a:p>
          <a:p>
            <a:pPr marL="342900" lvl="1" indent="-342900" eaLnBrk="1" hangingPunct="1">
              <a:buClr>
                <a:srgbClr val="C21C1D"/>
              </a:buClr>
              <a:buAutoNum type="arabicParenR"/>
            </a:pPr>
            <a:r>
              <a:rPr lang="de-DE" altLang="de-DE" sz="1500" dirty="0" err="1">
                <a:solidFill>
                  <a:srgbClr val="000000"/>
                </a:solidFill>
              </a:rPr>
              <a:t>assembling</a:t>
            </a:r>
            <a:r>
              <a:rPr lang="de-DE" altLang="de-DE" sz="1500" dirty="0">
                <a:solidFill>
                  <a:srgbClr val="000000"/>
                </a:solidFill>
              </a:rPr>
              <a:t> o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recast</a:t>
            </a:r>
            <a:r>
              <a:rPr lang="de-DE" altLang="de-DE" sz="1500" dirty="0">
                <a:solidFill>
                  <a:srgbClr val="000000"/>
                </a:solidFill>
              </a:rPr>
              <a:t> </a:t>
            </a:r>
            <a:r>
              <a:rPr lang="de-DE" altLang="de-DE" sz="1500" dirty="0" err="1">
                <a:solidFill>
                  <a:srgbClr val="000000"/>
                </a:solidFill>
              </a:rPr>
              <a:t>we</a:t>
            </a:r>
            <a:r>
              <a:rPr lang="de-DE" altLang="de-DE" sz="1500" dirty="0">
                <a:solidFill>
                  <a:srgbClr val="000000"/>
                </a:solidFill>
              </a:rPr>
              <a:t> </a:t>
            </a:r>
            <a:r>
              <a:rPr lang="de-DE" altLang="de-DE" sz="1500" dirty="0" err="1">
                <a:solidFill>
                  <a:srgbClr val="000000"/>
                </a:solidFill>
              </a:rPr>
              <a:t>figure</a:t>
            </a:r>
            <a:r>
              <a:rPr lang="de-DE" altLang="de-DE" sz="1500" dirty="0">
                <a:solidFill>
                  <a:srgbClr val="000000"/>
                </a:solidFill>
              </a:rPr>
              <a:t> out </a:t>
            </a:r>
            <a:r>
              <a:rPr lang="de-DE" altLang="de-DE" sz="1500" dirty="0" err="1">
                <a:solidFill>
                  <a:srgbClr val="000000"/>
                </a:solidFill>
              </a:rPr>
              <a:t>the</a:t>
            </a:r>
            <a:r>
              <a:rPr lang="de-DE" altLang="de-DE" sz="1500" dirty="0">
                <a:solidFill>
                  <a:srgbClr val="000000"/>
                </a:solidFill>
              </a:rPr>
              <a:t> positive and negative </a:t>
            </a:r>
            <a:r>
              <a:rPr lang="de-DE" altLang="de-DE" sz="1500" dirty="0" err="1">
                <a:solidFill>
                  <a:srgbClr val="000000"/>
                </a:solidFill>
              </a:rPr>
              <a:t>key</a:t>
            </a:r>
            <a:r>
              <a:rPr lang="de-DE" altLang="de-DE" sz="1500" dirty="0">
                <a:solidFill>
                  <a:srgbClr val="000000"/>
                </a:solidFill>
              </a:rPr>
              <a:t> </a:t>
            </a:r>
            <a:r>
              <a:rPr lang="de-DE" altLang="de-DE" sz="1500" dirty="0" err="1">
                <a:solidFill>
                  <a:srgbClr val="000000"/>
                </a:solidFill>
              </a:rPr>
              <a:t>drivers</a:t>
            </a:r>
            <a:r>
              <a:rPr lang="de-DE" altLang="de-DE" sz="1500" dirty="0">
                <a:solidFill>
                  <a:srgbClr val="000000"/>
                </a:solidFill>
              </a:rPr>
              <a:t> &amp; </a:t>
            </a:r>
            <a:r>
              <a:rPr lang="de-DE" altLang="de-DE" sz="1500" dirty="0" err="1">
                <a:solidFill>
                  <a:srgbClr val="000000"/>
                </a:solidFill>
              </a:rPr>
              <a:t>derive</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retention</a:t>
            </a:r>
            <a:endParaRPr lang="de-DE" altLang="de-DE" sz="1500" dirty="0">
              <a:solidFill>
                <a:srgbClr val="000000"/>
              </a:solidFill>
            </a:endParaRPr>
          </a:p>
        </p:txBody>
      </p:sp>
      <p:pic>
        <p:nvPicPr>
          <p:cNvPr id="7" name="Bild 11">
            <a:extLst>
              <a:ext uri="{FF2B5EF4-FFF2-40B4-BE49-F238E27FC236}">
                <a16:creationId xmlns:a16="http://schemas.microsoft.com/office/drawing/2014/main" id="{3D12EF7B-DD49-4DAA-9EF8-25408F824F9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7887" y="3539906"/>
            <a:ext cx="1861113" cy="2518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14">
            <a:extLst>
              <a:ext uri="{FF2B5EF4-FFF2-40B4-BE49-F238E27FC236}">
                <a16:creationId xmlns:a16="http://schemas.microsoft.com/office/drawing/2014/main" id="{C0CDCE6C-56DD-4D8C-9204-150AB1BB5D53}"/>
              </a:ext>
            </a:extLst>
          </p:cNvPr>
          <p:cNvSpPr>
            <a:spLocks noChangeArrowheads="1"/>
          </p:cNvSpPr>
          <p:nvPr/>
        </p:nvSpPr>
        <p:spPr bwMode="auto">
          <a:xfrm>
            <a:off x="723525" y="2042743"/>
            <a:ext cx="962883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300">
                <a:solidFill>
                  <a:schemeClr val="tx1"/>
                </a:solidFill>
                <a:latin typeface="Arial Regular"/>
                <a:ea typeface="Arial Regular"/>
                <a:cs typeface="Arial Regular"/>
              </a:defRPr>
            </a:lvl1pPr>
            <a:lvl2pPr marL="180975" indent="-180975" eaLnBrk="0" hangingPunct="0">
              <a:buClr>
                <a:schemeClr val="tx2"/>
              </a:buClr>
              <a:buFont typeface="Wingdings" pitchFamily="2" charset="2"/>
              <a:buChar char="§"/>
              <a:defRPr sz="1300">
                <a:solidFill>
                  <a:schemeClr val="tx1"/>
                </a:solidFill>
                <a:latin typeface="Arial Regular"/>
                <a:ea typeface="Arial Regular"/>
                <a:cs typeface="Arial Regular"/>
              </a:defRPr>
            </a:lvl2pPr>
            <a:lvl3pPr marL="361950" indent="-180975" eaLnBrk="0" hangingPunct="0">
              <a:buClr>
                <a:schemeClr val="tx2"/>
              </a:buClr>
              <a:buFont typeface="Arial" pitchFamily="34" charset="0"/>
              <a:buChar char="•"/>
              <a:defRPr sz="1300">
                <a:solidFill>
                  <a:schemeClr val="tx1"/>
                </a:solidFill>
                <a:latin typeface="Arial Regular"/>
                <a:ea typeface="Arial Regular"/>
                <a:cs typeface="Arial Regular"/>
              </a:defRPr>
            </a:lvl3pPr>
            <a:lvl4pPr marL="542925" indent="-187325" eaLnBrk="0" hangingPunct="0">
              <a:buClr>
                <a:schemeClr val="tx2"/>
              </a:buClr>
              <a:buFont typeface="Symbol" pitchFamily="18" charset="2"/>
              <a:buChar char="-"/>
              <a:defRPr sz="1300">
                <a:solidFill>
                  <a:schemeClr val="tx1"/>
                </a:solidFill>
                <a:latin typeface="Arial Regular"/>
                <a:ea typeface="Arial Regular"/>
                <a:cs typeface="Arial Regular"/>
              </a:defRPr>
            </a:lvl4pPr>
            <a:lvl5pPr marL="2057400" indent="-228600" eaLnBrk="0" hangingPunct="0">
              <a:lnSpc>
                <a:spcPts val="1200"/>
              </a:lnSpc>
              <a:buFont typeface="Wingdings" pitchFamily="2" charset="2"/>
              <a:buChar char="Ø"/>
              <a:defRPr sz="1000">
                <a:solidFill>
                  <a:schemeClr val="tx1"/>
                </a:solidFill>
                <a:latin typeface="Arial Regular"/>
                <a:ea typeface="Arial Regular"/>
                <a:cs typeface="Arial Regular"/>
              </a:defRPr>
            </a:lvl5pPr>
            <a:lvl6pPr marL="25146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6pPr>
            <a:lvl7pPr marL="29718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7pPr>
            <a:lvl8pPr marL="34290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8pPr>
            <a:lvl9pPr marL="3886200" indent="-228600" defTabSz="457200" eaLnBrk="0" fontAlgn="base" hangingPunct="0">
              <a:lnSpc>
                <a:spcPts val="1200"/>
              </a:lnSpc>
              <a:spcBef>
                <a:spcPct val="0"/>
              </a:spcBef>
              <a:spcAft>
                <a:spcPct val="0"/>
              </a:spcAft>
              <a:buFont typeface="Wingdings" pitchFamily="2" charset="2"/>
              <a:buChar char="Ø"/>
              <a:defRPr sz="1000">
                <a:solidFill>
                  <a:schemeClr val="tx1"/>
                </a:solidFill>
                <a:latin typeface="Arial Regular"/>
                <a:ea typeface="Arial Regular"/>
                <a:cs typeface="Arial Regular"/>
              </a:defRPr>
            </a:lvl9pPr>
          </a:lstStyle>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group</a:t>
            </a:r>
            <a:r>
              <a:rPr lang="de-DE" altLang="de-DE" sz="1500" dirty="0">
                <a:solidFill>
                  <a:srgbClr val="000000"/>
                </a:solidFill>
              </a:rPr>
              <a:t> </a:t>
            </a:r>
            <a:r>
              <a:rPr lang="de-DE" altLang="de-DE" sz="1500" dirty="0" err="1">
                <a:solidFill>
                  <a:srgbClr val="000000"/>
                </a:solidFill>
              </a:rPr>
              <a:t>consults</a:t>
            </a:r>
            <a:r>
              <a:rPr lang="de-DE" altLang="de-DE" sz="1500" dirty="0">
                <a:solidFill>
                  <a:srgbClr val="000000"/>
                </a:solidFill>
              </a:rPr>
              <a:t> an </a:t>
            </a:r>
            <a:r>
              <a:rPr lang="de-DE" altLang="de-DE" sz="1500" dirty="0" err="1">
                <a:solidFill>
                  <a:srgbClr val="000000"/>
                </a:solidFill>
              </a:rPr>
              <a:t>agency</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provides</a:t>
            </a:r>
            <a:r>
              <a:rPr lang="de-DE" altLang="de-DE" sz="1500" dirty="0">
                <a:solidFill>
                  <a:srgbClr val="000000"/>
                </a:solidFill>
              </a:rPr>
              <a:t> school-trips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various</a:t>
            </a:r>
            <a:r>
              <a:rPr lang="de-DE" altLang="de-DE" sz="1500" dirty="0">
                <a:solidFill>
                  <a:srgbClr val="000000"/>
                </a:solidFill>
              </a:rPr>
              <a:t> grades/</a:t>
            </a:r>
            <a:r>
              <a:rPr lang="de-DE" altLang="de-DE" sz="1500" dirty="0" err="1">
                <a:solidFill>
                  <a:srgbClr val="000000"/>
                </a:solidFill>
              </a:rPr>
              <a:t>school</a:t>
            </a:r>
            <a:r>
              <a:rPr lang="de-DE" altLang="de-DE" sz="1500" dirty="0">
                <a:solidFill>
                  <a:srgbClr val="000000"/>
                </a:solidFill>
              </a:rPr>
              <a:t> </a:t>
            </a:r>
            <a:r>
              <a:rPr lang="de-DE" altLang="de-DE" sz="1500" dirty="0" err="1">
                <a:solidFill>
                  <a:srgbClr val="000000"/>
                </a:solidFill>
              </a:rPr>
              <a:t>types</a:t>
            </a:r>
            <a:r>
              <a:rPr lang="de-DE" altLang="de-DE" sz="1500" dirty="0">
                <a:solidFill>
                  <a:srgbClr val="000000"/>
                </a:solidFill>
              </a:rPr>
              <a:t> &amp; </a:t>
            </a:r>
            <a:r>
              <a:rPr lang="de-DE" altLang="de-DE" sz="1500" dirty="0" err="1">
                <a:solidFill>
                  <a:srgbClr val="000000"/>
                </a:solidFill>
              </a:rPr>
              <a:t>sorts</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avel</a:t>
            </a:r>
            <a:r>
              <a:rPr lang="de-DE" altLang="de-DE" sz="1500" dirty="0">
                <a:solidFill>
                  <a:srgbClr val="000000"/>
                </a:solidFill>
              </a:rPr>
              <a:t>)</a:t>
            </a:r>
            <a:br>
              <a:rPr lang="de-DE" altLang="de-DE" sz="1500" dirty="0">
                <a:solidFill>
                  <a:srgbClr val="000000"/>
                </a:solidFill>
              </a:rPr>
            </a:br>
            <a:endParaRPr lang="de-DE" altLang="de-DE" sz="1500" dirty="0">
              <a:solidFill>
                <a:srgbClr val="000000"/>
              </a:solidFill>
            </a:endParaRPr>
          </a:p>
          <a:p>
            <a:pPr lvl="1" eaLnBrk="1" hangingPunct="1">
              <a:buClr>
                <a:srgbClr val="C21C1D"/>
              </a:buClr>
            </a:pPr>
            <a:r>
              <a:rPr lang="de-DE" altLang="de-DE" sz="1500" dirty="0" err="1">
                <a:solidFill>
                  <a:srgbClr val="000000"/>
                </a:solidFill>
              </a:rPr>
              <a:t>our</a:t>
            </a:r>
            <a:r>
              <a:rPr lang="de-DE" altLang="de-DE" sz="1500" dirty="0">
                <a:solidFill>
                  <a:srgbClr val="000000"/>
                </a:solidFill>
              </a:rPr>
              <a:t> </a:t>
            </a:r>
            <a:r>
              <a:rPr lang="de-DE" altLang="de-DE" sz="1500" dirty="0" err="1">
                <a:solidFill>
                  <a:srgbClr val="000000"/>
                </a:solidFill>
              </a:rPr>
              <a:t>aim</a:t>
            </a:r>
            <a:r>
              <a:rPr lang="de-DE" altLang="de-DE" sz="1500" dirty="0">
                <a:solidFill>
                  <a:srgbClr val="000000"/>
                </a:solidFill>
              </a:rPr>
              <a:t> </a:t>
            </a:r>
            <a:r>
              <a:rPr lang="de-DE" altLang="de-DE" sz="1500" dirty="0" err="1">
                <a:solidFill>
                  <a:srgbClr val="000000"/>
                </a:solidFill>
              </a:rPr>
              <a:t>i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percentage</a:t>
            </a:r>
            <a:r>
              <a:rPr lang="de-DE" altLang="de-DE" sz="1500" dirty="0">
                <a:solidFill>
                  <a:srgbClr val="000000"/>
                </a:solidFill>
              </a:rPr>
              <a:t> </a:t>
            </a:r>
            <a:r>
              <a:rPr lang="de-DE" altLang="de-DE" sz="1500" dirty="0" err="1">
                <a:solidFill>
                  <a:srgbClr val="000000"/>
                </a:solidFill>
              </a:rPr>
              <a:t>of</a:t>
            </a:r>
            <a:r>
              <a:rPr lang="de-DE" altLang="de-DE" sz="1500" dirty="0">
                <a:solidFill>
                  <a:srgbClr val="000000"/>
                </a:solidFill>
              </a:rPr>
              <a:t> </a:t>
            </a:r>
            <a:r>
              <a:rPr lang="de-DE" altLang="de-DE" sz="1500" dirty="0" err="1">
                <a:solidFill>
                  <a:srgbClr val="000000"/>
                </a:solidFill>
              </a:rPr>
              <a:t>trips</a:t>
            </a:r>
            <a:r>
              <a:rPr lang="de-DE" altLang="de-DE" sz="1500" dirty="0">
                <a:solidFill>
                  <a:srgbClr val="000000"/>
                </a:solidFill>
              </a:rPr>
              <a:t> </a:t>
            </a:r>
            <a:r>
              <a:rPr lang="de-DE" altLang="de-DE" sz="1500" dirty="0" err="1">
                <a:solidFill>
                  <a:srgbClr val="000000"/>
                </a:solidFill>
              </a:rPr>
              <a:t>which</a:t>
            </a:r>
            <a:r>
              <a:rPr lang="de-DE" altLang="de-DE" sz="1500" dirty="0">
                <a:solidFill>
                  <a:srgbClr val="000000"/>
                </a:solidFill>
              </a:rPr>
              <a:t> </a:t>
            </a:r>
            <a:r>
              <a:rPr lang="de-DE" altLang="de-DE" sz="1500" dirty="0" err="1">
                <a:solidFill>
                  <a:srgbClr val="000000"/>
                </a:solidFill>
              </a:rPr>
              <a:t>are</a:t>
            </a:r>
            <a:r>
              <a:rPr lang="de-DE" altLang="de-DE" sz="1500" dirty="0">
                <a:solidFill>
                  <a:srgbClr val="000000"/>
                </a:solidFill>
              </a:rPr>
              <a:t> </a:t>
            </a:r>
            <a:r>
              <a:rPr lang="de-DE" altLang="de-DE" sz="1500" dirty="0" err="1">
                <a:solidFill>
                  <a:srgbClr val="000000"/>
                </a:solidFill>
              </a:rPr>
              <a:t>rebooked</a:t>
            </a:r>
            <a:r>
              <a:rPr lang="de-DE" altLang="de-DE" sz="1500" dirty="0">
                <a:solidFill>
                  <a:srgbClr val="000000"/>
                </a:solidFill>
              </a:rPr>
              <a:t> in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following</a:t>
            </a:r>
            <a:r>
              <a:rPr lang="de-DE" altLang="de-DE" sz="1500" dirty="0">
                <a:solidFill>
                  <a:srgbClr val="000000"/>
                </a:solidFill>
              </a:rPr>
              <a:t> </a:t>
            </a:r>
            <a:r>
              <a:rPr lang="de-DE" altLang="de-DE" sz="1500" dirty="0" err="1">
                <a:solidFill>
                  <a:srgbClr val="000000"/>
                </a:solidFill>
              </a:rPr>
              <a:t>year</a:t>
            </a:r>
            <a:br>
              <a:rPr lang="de-DE" altLang="de-DE" sz="1500" dirty="0">
                <a:solidFill>
                  <a:srgbClr val="000000"/>
                </a:solidFill>
              </a:rPr>
            </a:br>
            <a:r>
              <a:rPr lang="de-DE" altLang="de-DE" sz="1500" dirty="0" err="1">
                <a:solidFill>
                  <a:srgbClr val="000000"/>
                </a:solidFill>
              </a:rPr>
              <a:t>by</a:t>
            </a:r>
            <a:r>
              <a:rPr lang="de-DE" altLang="de-DE" sz="1500" dirty="0">
                <a:solidFill>
                  <a:srgbClr val="000000"/>
                </a:solidFill>
              </a:rPr>
              <a:t> </a:t>
            </a:r>
            <a:r>
              <a:rPr lang="de-DE" altLang="de-DE" sz="1500" dirty="0" err="1">
                <a:solidFill>
                  <a:srgbClr val="000000"/>
                </a:solidFill>
              </a:rPr>
              <a:t>finding</a:t>
            </a:r>
            <a:r>
              <a:rPr lang="de-DE" altLang="de-DE" sz="1500" dirty="0">
                <a:solidFill>
                  <a:srgbClr val="000000"/>
                </a:solidFill>
              </a:rPr>
              <a:t> </a:t>
            </a:r>
            <a:r>
              <a:rPr lang="de-DE" altLang="de-DE" sz="1500" dirty="0" err="1">
                <a:solidFill>
                  <a:srgbClr val="000000"/>
                </a:solidFill>
              </a:rPr>
              <a:t>insights</a:t>
            </a:r>
            <a:r>
              <a:rPr lang="de-DE" altLang="de-DE" sz="1500" dirty="0">
                <a:solidFill>
                  <a:srgbClr val="000000"/>
                </a:solidFill>
              </a:rPr>
              <a:t> in </a:t>
            </a:r>
            <a:r>
              <a:rPr lang="de-DE" altLang="de-DE" sz="1500" dirty="0" err="1">
                <a:solidFill>
                  <a:srgbClr val="000000"/>
                </a:solidFill>
              </a:rPr>
              <a:t>historic</a:t>
            </a:r>
            <a:r>
              <a:rPr lang="de-DE" altLang="de-DE" sz="1500" dirty="0">
                <a:solidFill>
                  <a:srgbClr val="000000"/>
                </a:solidFill>
              </a:rPr>
              <a:t> </a:t>
            </a:r>
            <a:r>
              <a:rPr lang="de-DE" altLang="de-DE" sz="1500" dirty="0" err="1">
                <a:solidFill>
                  <a:srgbClr val="000000"/>
                </a:solidFill>
              </a:rPr>
              <a:t>data</a:t>
            </a:r>
            <a:r>
              <a:rPr lang="de-DE" altLang="de-DE" sz="1500" dirty="0">
                <a:solidFill>
                  <a:srgbClr val="000000"/>
                </a:solidFill>
              </a:rPr>
              <a:t> &amp; </a:t>
            </a:r>
            <a:r>
              <a:rPr lang="de-DE" altLang="de-DE" sz="1500" dirty="0" err="1">
                <a:solidFill>
                  <a:srgbClr val="000000"/>
                </a:solidFill>
              </a:rPr>
              <a:t>defining</a:t>
            </a:r>
            <a:r>
              <a:rPr lang="de-DE" altLang="de-DE" sz="1500" dirty="0">
                <a:solidFill>
                  <a:srgbClr val="000000"/>
                </a:solidFill>
              </a:rPr>
              <a:t> </a:t>
            </a:r>
            <a:r>
              <a:rPr lang="de-DE" altLang="de-DE" sz="1500" dirty="0" err="1">
                <a:solidFill>
                  <a:srgbClr val="000000"/>
                </a:solidFill>
              </a:rPr>
              <a:t>applicably</a:t>
            </a:r>
            <a:r>
              <a:rPr lang="de-DE" altLang="de-DE" sz="1500" dirty="0">
                <a:solidFill>
                  <a:srgbClr val="000000"/>
                </a:solidFill>
              </a:rPr>
              <a:t> </a:t>
            </a:r>
            <a:r>
              <a:rPr lang="de-DE" altLang="de-DE" sz="1500" dirty="0" err="1">
                <a:solidFill>
                  <a:srgbClr val="000000"/>
                </a:solidFill>
              </a:rPr>
              <a:t>actions</a:t>
            </a:r>
            <a:r>
              <a:rPr lang="de-DE" altLang="de-DE" sz="1500" dirty="0">
                <a:solidFill>
                  <a:srgbClr val="000000"/>
                </a:solidFill>
              </a:rPr>
              <a:t> </a:t>
            </a:r>
            <a:r>
              <a:rPr lang="de-DE" altLang="de-DE" sz="1500" dirty="0" err="1">
                <a:solidFill>
                  <a:srgbClr val="000000"/>
                </a:solidFill>
              </a:rPr>
              <a:t>to</a:t>
            </a:r>
            <a:r>
              <a:rPr lang="de-DE" altLang="de-DE" sz="1500" dirty="0">
                <a:solidFill>
                  <a:srgbClr val="000000"/>
                </a:solidFill>
              </a:rPr>
              <a:t> </a:t>
            </a:r>
            <a:r>
              <a:rPr lang="de-DE" altLang="de-DE" sz="1500" dirty="0" err="1">
                <a:solidFill>
                  <a:srgbClr val="000000"/>
                </a:solidFill>
              </a:rPr>
              <a:t>increase</a:t>
            </a:r>
            <a:r>
              <a:rPr lang="de-DE" altLang="de-DE" sz="1500" dirty="0">
                <a:solidFill>
                  <a:srgbClr val="000000"/>
                </a:solidFill>
              </a:rPr>
              <a:t> </a:t>
            </a:r>
            <a:r>
              <a:rPr lang="de-DE" altLang="de-DE" sz="1500" dirty="0" err="1">
                <a:solidFill>
                  <a:srgbClr val="000000"/>
                </a:solidFill>
              </a:rPr>
              <a:t>the</a:t>
            </a:r>
            <a:r>
              <a:rPr lang="de-DE" altLang="de-DE" sz="1500" dirty="0">
                <a:solidFill>
                  <a:srgbClr val="000000"/>
                </a:solidFill>
              </a:rPr>
              <a:t> </a:t>
            </a:r>
            <a:r>
              <a:rPr lang="de-DE" altLang="de-DE" sz="1500" dirty="0" err="1">
                <a:solidFill>
                  <a:srgbClr val="000000"/>
                </a:solidFill>
              </a:rPr>
              <a:t>customer</a:t>
            </a:r>
            <a:r>
              <a:rPr lang="de-DE" altLang="de-DE" sz="1500" dirty="0">
                <a:solidFill>
                  <a:srgbClr val="000000"/>
                </a:solidFill>
              </a:rPr>
              <a:t> </a:t>
            </a:r>
            <a:r>
              <a:rPr lang="de-DE" altLang="de-DE" sz="1500" dirty="0" err="1">
                <a:solidFill>
                  <a:srgbClr val="000000"/>
                </a:solidFill>
              </a:rPr>
              <a:t>loyalty</a:t>
            </a:r>
            <a:endParaRPr lang="de-DE" altLang="de-DE" sz="1500" dirty="0">
              <a:solidFill>
                <a:srgbClr val="000000"/>
              </a:solidFill>
            </a:endParaRPr>
          </a:p>
        </p:txBody>
      </p:sp>
      <p:sp>
        <p:nvSpPr>
          <p:cNvPr id="2" name="Textfeld 1">
            <a:extLst>
              <a:ext uri="{FF2B5EF4-FFF2-40B4-BE49-F238E27FC236}">
                <a16:creationId xmlns:a16="http://schemas.microsoft.com/office/drawing/2014/main" id="{B011FB8A-9AD8-4092-AF2C-C3E654F6C260}"/>
              </a:ext>
            </a:extLst>
          </p:cNvPr>
          <p:cNvSpPr txBox="1"/>
          <p:nvPr/>
        </p:nvSpPr>
        <p:spPr>
          <a:xfrm>
            <a:off x="3172769" y="3429000"/>
            <a:ext cx="2721036" cy="369332"/>
          </a:xfrm>
          <a:prstGeom prst="rect">
            <a:avLst/>
          </a:prstGeom>
          <a:noFill/>
        </p:spPr>
        <p:txBody>
          <a:bodyPr wrap="square" rtlCol="0">
            <a:spAutoFit/>
          </a:bodyPr>
          <a:lstStyle/>
          <a:p>
            <a:r>
              <a:rPr lang="de-DE" b="1" dirty="0" err="1"/>
              <a:t>Our</a:t>
            </a:r>
            <a:r>
              <a:rPr lang="de-DE" b="1" dirty="0"/>
              <a:t> Approach</a:t>
            </a:r>
          </a:p>
        </p:txBody>
      </p:sp>
      <p:sp>
        <p:nvSpPr>
          <p:cNvPr id="14" name="Textfeld 13">
            <a:extLst>
              <a:ext uri="{FF2B5EF4-FFF2-40B4-BE49-F238E27FC236}">
                <a16:creationId xmlns:a16="http://schemas.microsoft.com/office/drawing/2014/main" id="{E02DFA86-3512-488A-8A15-C4FCDD53FC9E}"/>
              </a:ext>
            </a:extLst>
          </p:cNvPr>
          <p:cNvSpPr txBox="1"/>
          <p:nvPr/>
        </p:nvSpPr>
        <p:spPr>
          <a:xfrm>
            <a:off x="710228" y="1600243"/>
            <a:ext cx="2721036" cy="369332"/>
          </a:xfrm>
          <a:prstGeom prst="rect">
            <a:avLst/>
          </a:prstGeom>
          <a:noFill/>
        </p:spPr>
        <p:txBody>
          <a:bodyPr wrap="square" rtlCol="0">
            <a:spAutoFit/>
          </a:bodyPr>
          <a:lstStyle/>
          <a:p>
            <a:r>
              <a:rPr lang="de-DE" b="1" dirty="0" err="1"/>
              <a:t>What</a:t>
            </a:r>
            <a:r>
              <a:rPr lang="de-DE" b="1" dirty="0"/>
              <a:t> </a:t>
            </a:r>
            <a:r>
              <a:rPr lang="de-DE" b="1" dirty="0" err="1"/>
              <a:t>is</a:t>
            </a:r>
            <a:r>
              <a:rPr lang="de-DE" b="1" dirty="0"/>
              <a:t> </a:t>
            </a:r>
            <a:r>
              <a:rPr lang="de-DE" b="1" dirty="0" err="1"/>
              <a:t>the</a:t>
            </a:r>
            <a:r>
              <a:rPr lang="de-DE" b="1" dirty="0"/>
              <a:t> </a:t>
            </a:r>
            <a:r>
              <a:rPr lang="de-DE" b="1" dirty="0" err="1"/>
              <a:t>situation</a:t>
            </a:r>
            <a:r>
              <a:rPr lang="de-DE" b="1" dirty="0"/>
              <a:t>?</a:t>
            </a:r>
          </a:p>
        </p:txBody>
      </p:sp>
    </p:spTree>
    <p:extLst>
      <p:ext uri="{BB962C8B-B14F-4D97-AF65-F5344CB8AC3E}">
        <p14:creationId xmlns:p14="http://schemas.microsoft.com/office/powerpoint/2010/main" val="1734792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descr="Ein Bild, das Text enthält.&#10;&#10;Automatisch generierte Beschreibung">
            <a:extLst>
              <a:ext uri="{FF2B5EF4-FFF2-40B4-BE49-F238E27FC236}">
                <a16:creationId xmlns:a16="http://schemas.microsoft.com/office/drawing/2014/main" id="{8BEACC21-656F-437B-950C-98810D7D03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599" y="1261314"/>
            <a:ext cx="4911735" cy="2003849"/>
          </a:xfrm>
          <a:prstGeom prst="rect">
            <a:avLst/>
          </a:prstGeom>
        </p:spPr>
      </p:pic>
      <p:pic>
        <p:nvPicPr>
          <p:cNvPr id="52" name="Grafik 51" descr="Ein Bild, das Tisch enthält.&#10;&#10;Automatisch generierte Beschreibung">
            <a:extLst>
              <a:ext uri="{FF2B5EF4-FFF2-40B4-BE49-F238E27FC236}">
                <a16:creationId xmlns:a16="http://schemas.microsoft.com/office/drawing/2014/main" id="{7026D6E1-C535-4413-B532-2FAD587838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48160" y="3787939"/>
            <a:ext cx="4537205" cy="1674156"/>
          </a:xfrm>
          <a:prstGeom prst="rect">
            <a:avLst/>
          </a:prstGeom>
        </p:spPr>
      </p:pic>
      <p:pic>
        <p:nvPicPr>
          <p:cNvPr id="50" name="Grafik 49" descr="Ein Bild, das Tisch enthält.&#10;&#10;Automatisch generierte Beschreibung">
            <a:extLst>
              <a:ext uri="{FF2B5EF4-FFF2-40B4-BE49-F238E27FC236}">
                <a16:creationId xmlns:a16="http://schemas.microsoft.com/office/drawing/2014/main" id="{7CA829E8-672D-44DA-B912-3FDFABD8AD9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7386" y="5035568"/>
            <a:ext cx="4315465" cy="1616098"/>
          </a:xfrm>
          <a:prstGeom prst="rect">
            <a:avLst/>
          </a:prstGeom>
        </p:spPr>
      </p:pic>
      <p:pic>
        <p:nvPicPr>
          <p:cNvPr id="48" name="Grafik 47" descr="Ein Bild, das Tisch enthält.&#10;&#10;Automatisch generierte Beschreibung">
            <a:extLst>
              <a:ext uri="{FF2B5EF4-FFF2-40B4-BE49-F238E27FC236}">
                <a16:creationId xmlns:a16="http://schemas.microsoft.com/office/drawing/2014/main" id="{4B66D3ED-9936-468B-9B9B-7D938B452E4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7666" y="2364508"/>
            <a:ext cx="3643983" cy="1423431"/>
          </a:xfrm>
          <a:prstGeom prst="rect">
            <a:avLst/>
          </a:prstGeom>
        </p:spPr>
      </p:pic>
      <p:pic>
        <p:nvPicPr>
          <p:cNvPr id="46" name="Grafik 45" descr="Ein Bild, das Tisch enthält.&#10;&#10;Automatisch generierte Beschreibung">
            <a:extLst>
              <a:ext uri="{FF2B5EF4-FFF2-40B4-BE49-F238E27FC236}">
                <a16:creationId xmlns:a16="http://schemas.microsoft.com/office/drawing/2014/main" id="{40D8136F-6372-42FB-9605-2005DD64C7C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49149" y="3678379"/>
            <a:ext cx="3026310" cy="2638686"/>
          </a:xfrm>
          <a:prstGeom prst="rect">
            <a:avLst/>
          </a:prstGeom>
        </p:spPr>
      </p:pic>
      <p:pic>
        <p:nvPicPr>
          <p:cNvPr id="44" name="Grafik 43" descr="Ein Bild, das Tisch enthält.&#10;&#10;Automatisch generierte Beschreibung">
            <a:extLst>
              <a:ext uri="{FF2B5EF4-FFF2-40B4-BE49-F238E27FC236}">
                <a16:creationId xmlns:a16="http://schemas.microsoft.com/office/drawing/2014/main" id="{FB5AC211-8C8A-4032-AF21-447DC748AD3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92257" y="5035568"/>
            <a:ext cx="2832064" cy="1300235"/>
          </a:xfrm>
          <a:prstGeom prst="rect">
            <a:avLst/>
          </a:prstGeom>
        </p:spPr>
      </p:pic>
      <p:pic>
        <p:nvPicPr>
          <p:cNvPr id="8" name="Grafik 7" descr="Ein Bild, das Tisch enthält.&#10;&#10;Automatisch generierte Beschreibung">
            <a:extLst>
              <a:ext uri="{FF2B5EF4-FFF2-40B4-BE49-F238E27FC236}">
                <a16:creationId xmlns:a16="http://schemas.microsoft.com/office/drawing/2014/main" id="{AA6DEC4D-E926-4431-8EC1-C7F9A59FFE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308155" y="1298388"/>
            <a:ext cx="2498952" cy="1950117"/>
          </a:xfrm>
          <a:prstGeom prst="rect">
            <a:avLst/>
          </a:prstGeom>
        </p:spPr>
      </p:pic>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8" y="459218"/>
            <a:ext cx="983705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The Use Case</a:t>
            </a:r>
            <a:br>
              <a:rPr lang="it-IT" sz="2000" b="1" dirty="0">
                <a:solidFill>
                  <a:srgbClr val="752127"/>
                </a:solidFill>
              </a:rPr>
            </a:br>
            <a:br>
              <a:rPr lang="it-IT" sz="2000" b="1" dirty="0">
                <a:solidFill>
                  <a:srgbClr val="752127"/>
                </a:solidFill>
              </a:rPr>
            </a:br>
            <a:r>
              <a:rPr lang="it-IT" sz="2600" b="1" dirty="0" err="1">
                <a:solidFill>
                  <a:srgbClr val="752127"/>
                </a:solidFill>
              </a:rPr>
              <a:t>four</a:t>
            </a:r>
            <a:r>
              <a:rPr lang="it-IT" sz="2600" b="1" dirty="0">
                <a:solidFill>
                  <a:srgbClr val="752127"/>
                </a:solidFill>
              </a:rPr>
              <a:t> data sources can be </a:t>
            </a:r>
            <a:r>
              <a:rPr lang="it-IT" sz="2600" b="1" dirty="0" err="1">
                <a:solidFill>
                  <a:srgbClr val="752127"/>
                </a:solidFill>
              </a:rPr>
              <a:t>analyzed</a:t>
            </a:r>
            <a:endParaRPr lang="it-IT" sz="2600" b="1" dirty="0">
              <a:solidFill>
                <a:srgbClr val="752127"/>
              </a:solidFill>
            </a:endParaRPr>
          </a:p>
        </p:txBody>
      </p:sp>
      <p:sp>
        <p:nvSpPr>
          <p:cNvPr id="11" name="Text Box 12">
            <a:extLst>
              <a:ext uri="{FF2B5EF4-FFF2-40B4-BE49-F238E27FC236}">
                <a16:creationId xmlns:a16="http://schemas.microsoft.com/office/drawing/2014/main" id="{57981171-819F-41ED-8626-E0744901F08E}"/>
              </a:ext>
            </a:extLst>
          </p:cNvPr>
          <p:cNvSpPr txBox="1">
            <a:spLocks noChangeArrowheads="1"/>
          </p:cNvSpPr>
          <p:nvPr>
            <p:custDataLst>
              <p:tags r:id="rId1"/>
            </p:custDataLst>
          </p:nvPr>
        </p:nvSpPr>
        <p:spPr bwMode="auto">
          <a:xfrm>
            <a:off x="7248651" y="5452524"/>
            <a:ext cx="143192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Finance</a:t>
            </a:r>
            <a:br>
              <a:rPr lang="de-DE" sz="1800" dirty="0">
                <a:solidFill>
                  <a:srgbClr val="C21C1D"/>
                </a:solidFill>
                <a:latin typeface="+mj-lt"/>
              </a:rPr>
            </a:br>
            <a:r>
              <a:rPr lang="de-DE" sz="1000" dirty="0" err="1">
                <a:solidFill>
                  <a:srgbClr val="C21C1D"/>
                </a:solidFill>
                <a:latin typeface="+mj-lt"/>
              </a:rPr>
              <a:t>Billinginformation</a:t>
            </a:r>
            <a:endParaRPr lang="de-DE" sz="1000" dirty="0">
              <a:solidFill>
                <a:srgbClr val="C21C1D"/>
              </a:solidFill>
              <a:latin typeface="+mj-lt"/>
            </a:endParaRPr>
          </a:p>
        </p:txBody>
      </p:sp>
      <p:sp>
        <p:nvSpPr>
          <p:cNvPr id="12" name="Text Box 13">
            <a:extLst>
              <a:ext uri="{FF2B5EF4-FFF2-40B4-BE49-F238E27FC236}">
                <a16:creationId xmlns:a16="http://schemas.microsoft.com/office/drawing/2014/main" id="{55A2CB18-15E7-4BF2-9AF5-F66A7DCA1B78}"/>
              </a:ext>
            </a:extLst>
          </p:cNvPr>
          <p:cNvSpPr txBox="1">
            <a:spLocks noChangeArrowheads="1"/>
          </p:cNvSpPr>
          <p:nvPr>
            <p:custDataLst>
              <p:tags r:id="rId2"/>
            </p:custDataLst>
          </p:nvPr>
        </p:nvSpPr>
        <p:spPr bwMode="auto">
          <a:xfrm>
            <a:off x="6254883" y="827861"/>
            <a:ext cx="151644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Tweets</a:t>
            </a:r>
            <a:br>
              <a:rPr lang="de-DE" sz="1800" dirty="0">
                <a:solidFill>
                  <a:srgbClr val="C21C1D"/>
                </a:solidFill>
                <a:latin typeface="+mj-lt"/>
              </a:rPr>
            </a:br>
            <a:r>
              <a:rPr lang="de-DE" sz="1000" dirty="0" err="1">
                <a:solidFill>
                  <a:srgbClr val="C21C1D"/>
                </a:solidFill>
                <a:latin typeface="+mj-lt"/>
              </a:rPr>
              <a:t>of</a:t>
            </a:r>
            <a:r>
              <a:rPr lang="de-DE" sz="1000" dirty="0">
                <a:solidFill>
                  <a:srgbClr val="C21C1D"/>
                </a:solidFill>
                <a:latin typeface="+mj-lt"/>
              </a:rPr>
              <a:t> </a:t>
            </a:r>
            <a:r>
              <a:rPr lang="de-DE" sz="1000" dirty="0" err="1">
                <a:solidFill>
                  <a:srgbClr val="C21C1D"/>
                </a:solidFill>
                <a:latin typeface="+mj-lt"/>
              </a:rPr>
              <a:t>customers</a:t>
            </a:r>
            <a:r>
              <a:rPr lang="de-DE" sz="1000" dirty="0">
                <a:solidFill>
                  <a:srgbClr val="C21C1D"/>
                </a:solidFill>
                <a:latin typeface="+mj-lt"/>
              </a:rPr>
              <a:t> </a:t>
            </a:r>
            <a:r>
              <a:rPr lang="de-DE" sz="1000" dirty="0" err="1">
                <a:solidFill>
                  <a:srgbClr val="C21C1D"/>
                </a:solidFill>
                <a:latin typeface="+mj-lt"/>
              </a:rPr>
              <a:t>refering</a:t>
            </a:r>
            <a:r>
              <a:rPr lang="de-DE" sz="1000" dirty="0">
                <a:solidFill>
                  <a:srgbClr val="C21C1D"/>
                </a:solidFill>
                <a:latin typeface="+mj-lt"/>
              </a:rPr>
              <a:t> </a:t>
            </a:r>
            <a:r>
              <a:rPr lang="de-DE" sz="1000" dirty="0" err="1">
                <a:solidFill>
                  <a:srgbClr val="C21C1D"/>
                </a:solidFill>
                <a:latin typeface="+mj-lt"/>
              </a:rPr>
              <a:t>to</a:t>
            </a:r>
            <a:r>
              <a:rPr lang="de-DE" sz="1000" dirty="0">
                <a:solidFill>
                  <a:srgbClr val="C21C1D"/>
                </a:solidFill>
                <a:latin typeface="+mj-lt"/>
              </a:rPr>
              <a:t> </a:t>
            </a:r>
            <a:r>
              <a:rPr lang="de-DE" sz="1000" dirty="0" err="1">
                <a:solidFill>
                  <a:srgbClr val="C21C1D"/>
                </a:solidFill>
                <a:latin typeface="+mj-lt"/>
              </a:rPr>
              <a:t>trips</a:t>
            </a:r>
            <a:endParaRPr lang="de-DE" sz="1000" dirty="0">
              <a:solidFill>
                <a:srgbClr val="C21C1D"/>
              </a:solidFill>
              <a:latin typeface="+mj-lt"/>
            </a:endParaRPr>
          </a:p>
        </p:txBody>
      </p:sp>
      <p:sp>
        <p:nvSpPr>
          <p:cNvPr id="13" name="Text Box 14">
            <a:extLst>
              <a:ext uri="{FF2B5EF4-FFF2-40B4-BE49-F238E27FC236}">
                <a16:creationId xmlns:a16="http://schemas.microsoft.com/office/drawing/2014/main" id="{EC62C819-2771-483A-AB46-E2DC77E7BA5D}"/>
              </a:ext>
            </a:extLst>
          </p:cNvPr>
          <p:cNvSpPr txBox="1">
            <a:spLocks noChangeArrowheads="1"/>
          </p:cNvSpPr>
          <p:nvPr>
            <p:custDataLst>
              <p:tags r:id="rId3"/>
            </p:custDataLst>
          </p:nvPr>
        </p:nvSpPr>
        <p:spPr bwMode="auto">
          <a:xfrm>
            <a:off x="1004889" y="1754745"/>
            <a:ext cx="195011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CRM</a:t>
            </a:r>
            <a:br>
              <a:rPr lang="de-DE" sz="1800" dirty="0">
                <a:solidFill>
                  <a:srgbClr val="C21C1D"/>
                </a:solidFill>
                <a:latin typeface="+mj-lt"/>
              </a:rPr>
            </a:br>
            <a:r>
              <a:rPr lang="de-DE" sz="1000" dirty="0" err="1">
                <a:solidFill>
                  <a:srgbClr val="C21C1D"/>
                </a:solidFill>
                <a:latin typeface="+mj-lt"/>
              </a:rPr>
              <a:t>Customerdescription</a:t>
            </a:r>
            <a:r>
              <a:rPr lang="de-DE" sz="1000" dirty="0">
                <a:solidFill>
                  <a:srgbClr val="C21C1D"/>
                </a:solidFill>
                <a:latin typeface="+mj-lt"/>
              </a:rPr>
              <a:t> </a:t>
            </a:r>
            <a:r>
              <a:rPr lang="de-DE" sz="1000" dirty="0" err="1">
                <a:solidFill>
                  <a:srgbClr val="C21C1D"/>
                </a:solidFill>
                <a:latin typeface="+mj-lt"/>
              </a:rPr>
              <a:t>based</a:t>
            </a:r>
            <a:r>
              <a:rPr lang="de-DE" sz="1000" dirty="0">
                <a:solidFill>
                  <a:srgbClr val="C21C1D"/>
                </a:solidFill>
                <a:latin typeface="+mj-lt"/>
              </a:rPr>
              <a:t> on Customer </a:t>
            </a:r>
            <a:r>
              <a:rPr lang="de-DE" sz="1000" dirty="0" err="1">
                <a:solidFill>
                  <a:srgbClr val="C21C1D"/>
                </a:solidFill>
                <a:latin typeface="+mj-lt"/>
              </a:rPr>
              <a:t>relationship</a:t>
            </a:r>
            <a:r>
              <a:rPr lang="de-DE" sz="1000" dirty="0">
                <a:solidFill>
                  <a:srgbClr val="C21C1D"/>
                </a:solidFill>
                <a:latin typeface="+mj-lt"/>
              </a:rPr>
              <a:t> </a:t>
            </a:r>
            <a:r>
              <a:rPr lang="de-DE" sz="1000" dirty="0" err="1">
                <a:solidFill>
                  <a:srgbClr val="C21C1D"/>
                </a:solidFill>
                <a:latin typeface="+mj-lt"/>
              </a:rPr>
              <a:t>system</a:t>
            </a:r>
            <a:endParaRPr lang="de-DE" sz="1000" dirty="0">
              <a:solidFill>
                <a:srgbClr val="C21C1D"/>
              </a:solidFill>
              <a:latin typeface="+mj-lt"/>
            </a:endParaRPr>
          </a:p>
        </p:txBody>
      </p:sp>
      <p:grpSp>
        <p:nvGrpSpPr>
          <p:cNvPr id="15" name="Gruppieren 18">
            <a:extLst>
              <a:ext uri="{FF2B5EF4-FFF2-40B4-BE49-F238E27FC236}">
                <a16:creationId xmlns:a16="http://schemas.microsoft.com/office/drawing/2014/main" id="{84B48285-5546-40FF-8B36-28A37A6B8884}"/>
              </a:ext>
            </a:extLst>
          </p:cNvPr>
          <p:cNvGrpSpPr>
            <a:grpSpLocks noChangeAspect="1"/>
          </p:cNvGrpSpPr>
          <p:nvPr/>
        </p:nvGrpSpPr>
        <p:grpSpPr bwMode="auto">
          <a:xfrm>
            <a:off x="4615818" y="1892859"/>
            <a:ext cx="1020068" cy="939948"/>
            <a:chOff x="2280285" y="3306599"/>
            <a:chExt cx="1625600" cy="1625600"/>
          </a:xfrm>
        </p:grpSpPr>
        <p:sp>
          <p:nvSpPr>
            <p:cNvPr id="16" name="Form 15">
              <a:extLst>
                <a:ext uri="{FF2B5EF4-FFF2-40B4-BE49-F238E27FC236}">
                  <a16:creationId xmlns:a16="http://schemas.microsoft.com/office/drawing/2014/main" id="{CE0CE6D9-9BAE-431F-BF97-629EC3CBE9C6}"/>
                </a:ext>
              </a:extLst>
            </p:cNvPr>
            <p:cNvSpPr/>
            <p:nvPr/>
          </p:nvSpPr>
          <p:spPr>
            <a:xfrm>
              <a:off x="2280285" y="3306599"/>
              <a:ext cx="1625600" cy="1625600"/>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17" name="Form 16">
              <a:extLst>
                <a:ext uri="{FF2B5EF4-FFF2-40B4-BE49-F238E27FC236}">
                  <a16:creationId xmlns:a16="http://schemas.microsoft.com/office/drawing/2014/main" id="{A4DC73F3-E3EA-457B-A7C8-466F91E3A386}"/>
                </a:ext>
              </a:extLst>
            </p:cNvPr>
            <p:cNvSpPr/>
            <p:nvPr/>
          </p:nvSpPr>
          <p:spPr>
            <a:xfrm>
              <a:off x="2483485" y="3538374"/>
              <a:ext cx="1219200" cy="1181100"/>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18" name="Ellipse 17">
              <a:extLst>
                <a:ext uri="{FF2B5EF4-FFF2-40B4-BE49-F238E27FC236}">
                  <a16:creationId xmlns:a16="http://schemas.microsoft.com/office/drawing/2014/main" id="{A59ED5A4-78F4-4CFD-9EB0-525ACD9F98EE}"/>
                </a:ext>
              </a:extLst>
            </p:cNvPr>
            <p:cNvSpPr/>
            <p:nvPr/>
          </p:nvSpPr>
          <p:spPr>
            <a:xfrm>
              <a:off x="2874010" y="3898737"/>
              <a:ext cx="438150" cy="46037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19" name="Gruppieren 15">
            <a:extLst>
              <a:ext uri="{FF2B5EF4-FFF2-40B4-BE49-F238E27FC236}">
                <a16:creationId xmlns:a16="http://schemas.microsoft.com/office/drawing/2014/main" id="{EE119C79-50DC-4457-90AE-34E815B53A2B}"/>
              </a:ext>
            </a:extLst>
          </p:cNvPr>
          <p:cNvGrpSpPr>
            <a:grpSpLocks noChangeAspect="1"/>
          </p:cNvGrpSpPr>
          <p:nvPr/>
        </p:nvGrpSpPr>
        <p:grpSpPr bwMode="auto">
          <a:xfrm>
            <a:off x="6835080" y="3395276"/>
            <a:ext cx="851996" cy="868289"/>
            <a:chOff x="3656286" y="4067031"/>
            <a:chExt cx="2235200" cy="2235200"/>
          </a:xfrm>
        </p:grpSpPr>
        <p:sp>
          <p:nvSpPr>
            <p:cNvPr id="20" name="Form 19">
              <a:extLst>
                <a:ext uri="{FF2B5EF4-FFF2-40B4-BE49-F238E27FC236}">
                  <a16:creationId xmlns:a16="http://schemas.microsoft.com/office/drawing/2014/main" id="{A6618513-B8E4-453D-BC2B-837AFF4EEAEA}"/>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1" name="Form 20">
              <a:extLst>
                <a:ext uri="{FF2B5EF4-FFF2-40B4-BE49-F238E27FC236}">
                  <a16:creationId xmlns:a16="http://schemas.microsoft.com/office/drawing/2014/main" id="{A496180C-96D1-4551-824C-9E89801CE819}"/>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2" name="Ellipse 21">
              <a:extLst>
                <a:ext uri="{FF2B5EF4-FFF2-40B4-BE49-F238E27FC236}">
                  <a16:creationId xmlns:a16="http://schemas.microsoft.com/office/drawing/2014/main" id="{F519BACD-50E4-4BB7-A962-E913E00DBCA1}"/>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grpSp>
        <p:nvGrpSpPr>
          <p:cNvPr id="23" name="Gruppieren 14">
            <a:extLst>
              <a:ext uri="{FF2B5EF4-FFF2-40B4-BE49-F238E27FC236}">
                <a16:creationId xmlns:a16="http://schemas.microsoft.com/office/drawing/2014/main" id="{AD8B378E-410C-456F-8A6A-E2A96778E202}"/>
              </a:ext>
            </a:extLst>
          </p:cNvPr>
          <p:cNvGrpSpPr>
            <a:grpSpLocks/>
          </p:cNvGrpSpPr>
          <p:nvPr/>
        </p:nvGrpSpPr>
        <p:grpSpPr bwMode="auto">
          <a:xfrm>
            <a:off x="5759342" y="1713930"/>
            <a:ext cx="1592262" cy="1592263"/>
            <a:chOff x="4310336" y="2381246"/>
            <a:chExt cx="1592756" cy="1592756"/>
          </a:xfrm>
        </p:grpSpPr>
        <p:sp>
          <p:nvSpPr>
            <p:cNvPr id="25" name="Form 24">
              <a:extLst>
                <a:ext uri="{FF2B5EF4-FFF2-40B4-BE49-F238E27FC236}">
                  <a16:creationId xmlns:a16="http://schemas.microsoft.com/office/drawing/2014/main" id="{DA7BCE2C-6498-42B4-B226-691997BB3FF1}"/>
                </a:ext>
              </a:extLst>
            </p:cNvPr>
            <p:cNvSpPr/>
            <p:nvPr/>
          </p:nvSpPr>
          <p:spPr>
            <a:xfrm rot="20700000">
              <a:off x="4310336" y="2381246"/>
              <a:ext cx="1592756" cy="1592756"/>
            </a:xfrm>
            <a:prstGeom prst="gear6">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26" name="Form 25">
              <a:extLst>
                <a:ext uri="{FF2B5EF4-FFF2-40B4-BE49-F238E27FC236}">
                  <a16:creationId xmlns:a16="http://schemas.microsoft.com/office/drawing/2014/main" id="{B3E271C3-6810-46D6-9D24-4AC9EC038DA8}"/>
                </a:ext>
              </a:extLst>
            </p:cNvPr>
            <p:cNvSpPr/>
            <p:nvPr/>
          </p:nvSpPr>
          <p:spPr>
            <a:xfrm rot="20700000">
              <a:off x="4508835" y="2598801"/>
              <a:ext cx="1195759" cy="1157645"/>
            </a:xfrm>
            <a:prstGeom prst="gear6">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28" name="Ellipse 27">
              <a:extLst>
                <a:ext uri="{FF2B5EF4-FFF2-40B4-BE49-F238E27FC236}">
                  <a16:creationId xmlns:a16="http://schemas.microsoft.com/office/drawing/2014/main" id="{B2F106ED-1C14-42DE-965E-7D58F04E35E4}"/>
                </a:ext>
              </a:extLst>
            </p:cNvPr>
            <p:cNvSpPr/>
            <p:nvPr/>
          </p:nvSpPr>
          <p:spPr>
            <a:xfrm>
              <a:off x="4888365" y="2948159"/>
              <a:ext cx="436697" cy="458929"/>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
        <p:nvSpPr>
          <p:cNvPr id="29" name="Text Box 12">
            <a:extLst>
              <a:ext uri="{FF2B5EF4-FFF2-40B4-BE49-F238E27FC236}">
                <a16:creationId xmlns:a16="http://schemas.microsoft.com/office/drawing/2014/main" id="{347C338D-B605-405A-98D6-C7DEB328114B}"/>
              </a:ext>
            </a:extLst>
          </p:cNvPr>
          <p:cNvSpPr txBox="1">
            <a:spLocks noChangeArrowheads="1"/>
          </p:cNvSpPr>
          <p:nvPr>
            <p:custDataLst>
              <p:tags r:id="rId4"/>
            </p:custDataLst>
          </p:nvPr>
        </p:nvSpPr>
        <p:spPr bwMode="auto">
          <a:xfrm>
            <a:off x="2126653" y="4203746"/>
            <a:ext cx="143192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500">
                <a:solidFill>
                  <a:schemeClr val="tx1"/>
                </a:solidFill>
                <a:latin typeface="HelveticaNeue LT 55 Roman" pitchFamily="2" charset="0"/>
              </a:defRPr>
            </a:lvl1pPr>
            <a:lvl2pPr marL="742950" indent="-285750" eaLnBrk="0" hangingPunct="0">
              <a:defRPr sz="1500">
                <a:solidFill>
                  <a:schemeClr val="tx1"/>
                </a:solidFill>
                <a:latin typeface="HelveticaNeue LT 55 Roman" pitchFamily="2" charset="0"/>
              </a:defRPr>
            </a:lvl2pPr>
            <a:lvl3pPr marL="1143000" indent="-228600" eaLnBrk="0" hangingPunct="0">
              <a:defRPr sz="1500">
                <a:solidFill>
                  <a:schemeClr val="tx1"/>
                </a:solidFill>
                <a:latin typeface="HelveticaNeue LT 55 Roman" pitchFamily="2" charset="0"/>
              </a:defRPr>
            </a:lvl3pPr>
            <a:lvl4pPr marL="1600200" indent="-228600" eaLnBrk="0" hangingPunct="0">
              <a:defRPr sz="1500">
                <a:solidFill>
                  <a:schemeClr val="tx1"/>
                </a:solidFill>
                <a:latin typeface="HelveticaNeue LT 55 Roman" pitchFamily="2" charset="0"/>
              </a:defRPr>
            </a:lvl4pPr>
            <a:lvl5pPr marL="2057400" indent="-228600" eaLnBrk="0" hangingPunct="0">
              <a:defRPr sz="1500">
                <a:solidFill>
                  <a:schemeClr val="tx1"/>
                </a:solidFill>
                <a:latin typeface="HelveticaNeue LT 55 Roman" pitchFamily="2" charset="0"/>
              </a:defRPr>
            </a:lvl5pPr>
            <a:lvl6pPr marL="2514600" indent="-228600" eaLnBrk="0" fontAlgn="base" hangingPunct="0">
              <a:spcBef>
                <a:spcPct val="0"/>
              </a:spcBef>
              <a:spcAft>
                <a:spcPct val="0"/>
              </a:spcAft>
              <a:buClr>
                <a:schemeClr val="tx1"/>
              </a:buClr>
              <a:defRPr sz="1500">
                <a:solidFill>
                  <a:schemeClr val="tx1"/>
                </a:solidFill>
                <a:latin typeface="HelveticaNeue LT 55 Roman" pitchFamily="2" charset="0"/>
              </a:defRPr>
            </a:lvl6pPr>
            <a:lvl7pPr marL="2971800" indent="-228600" eaLnBrk="0" fontAlgn="base" hangingPunct="0">
              <a:spcBef>
                <a:spcPct val="0"/>
              </a:spcBef>
              <a:spcAft>
                <a:spcPct val="0"/>
              </a:spcAft>
              <a:buClr>
                <a:schemeClr val="tx1"/>
              </a:buClr>
              <a:defRPr sz="1500">
                <a:solidFill>
                  <a:schemeClr val="tx1"/>
                </a:solidFill>
                <a:latin typeface="HelveticaNeue LT 55 Roman" pitchFamily="2" charset="0"/>
              </a:defRPr>
            </a:lvl7pPr>
            <a:lvl8pPr marL="3429000" indent="-228600" eaLnBrk="0" fontAlgn="base" hangingPunct="0">
              <a:spcBef>
                <a:spcPct val="0"/>
              </a:spcBef>
              <a:spcAft>
                <a:spcPct val="0"/>
              </a:spcAft>
              <a:buClr>
                <a:schemeClr val="tx1"/>
              </a:buClr>
              <a:defRPr sz="1500">
                <a:solidFill>
                  <a:schemeClr val="tx1"/>
                </a:solidFill>
                <a:latin typeface="HelveticaNeue LT 55 Roman" pitchFamily="2" charset="0"/>
              </a:defRPr>
            </a:lvl8pPr>
            <a:lvl9pPr marL="3886200" indent="-228600" eaLnBrk="0" fontAlgn="base" hangingPunct="0">
              <a:spcBef>
                <a:spcPct val="0"/>
              </a:spcBef>
              <a:spcAft>
                <a:spcPct val="0"/>
              </a:spcAft>
              <a:buClr>
                <a:schemeClr val="tx1"/>
              </a:buClr>
              <a:defRPr sz="1500">
                <a:solidFill>
                  <a:schemeClr val="tx1"/>
                </a:solidFill>
                <a:latin typeface="HelveticaNeue LT 55 Roman" pitchFamily="2" charset="0"/>
              </a:defRPr>
            </a:lvl9pPr>
          </a:lstStyle>
          <a:p>
            <a:pPr eaLnBrk="1" hangingPunct="1">
              <a:buClr>
                <a:srgbClr val="990000"/>
              </a:buClr>
              <a:buSzPct val="70000"/>
              <a:defRPr/>
            </a:pPr>
            <a:r>
              <a:rPr lang="de-DE" sz="1800" dirty="0">
                <a:solidFill>
                  <a:srgbClr val="C21C1D"/>
                </a:solidFill>
                <a:latin typeface="+mj-lt"/>
              </a:rPr>
              <a:t>Sales</a:t>
            </a:r>
            <a:br>
              <a:rPr lang="de-DE" sz="1800" dirty="0">
                <a:solidFill>
                  <a:srgbClr val="C21C1D"/>
                </a:solidFill>
                <a:latin typeface="+mj-lt"/>
              </a:rPr>
            </a:br>
            <a:r>
              <a:rPr lang="de-DE" sz="1000" dirty="0" err="1">
                <a:solidFill>
                  <a:srgbClr val="C21C1D"/>
                </a:solidFill>
                <a:latin typeface="+mj-lt"/>
              </a:rPr>
              <a:t>Tripspecification</a:t>
            </a:r>
            <a:r>
              <a:rPr lang="de-DE" sz="1000" dirty="0">
                <a:solidFill>
                  <a:srgbClr val="C21C1D"/>
                </a:solidFill>
                <a:latin typeface="+mj-lt"/>
              </a:rPr>
              <a:t> &amp; </a:t>
            </a:r>
            <a:r>
              <a:rPr lang="de-DE" sz="1000" dirty="0" err="1">
                <a:solidFill>
                  <a:srgbClr val="C21C1D"/>
                </a:solidFill>
                <a:latin typeface="+mj-lt"/>
              </a:rPr>
              <a:t>target</a:t>
            </a:r>
            <a:r>
              <a:rPr lang="de-DE" sz="1000" dirty="0">
                <a:solidFill>
                  <a:srgbClr val="C21C1D"/>
                </a:solidFill>
                <a:latin typeface="+mj-lt"/>
              </a:rPr>
              <a:t> variable „</a:t>
            </a:r>
            <a:r>
              <a:rPr lang="de-DE" sz="1000" dirty="0" err="1">
                <a:solidFill>
                  <a:srgbClr val="C21C1D"/>
                </a:solidFill>
                <a:latin typeface="+mj-lt"/>
              </a:rPr>
              <a:t>Retained</a:t>
            </a:r>
            <a:r>
              <a:rPr lang="de-DE" sz="1000" dirty="0">
                <a:solidFill>
                  <a:srgbClr val="C21C1D"/>
                </a:solidFill>
                <a:latin typeface="+mj-lt"/>
              </a:rPr>
              <a:t>“ (1, 0)</a:t>
            </a:r>
          </a:p>
        </p:txBody>
      </p:sp>
      <p:grpSp>
        <p:nvGrpSpPr>
          <p:cNvPr id="30" name="Gruppieren 15">
            <a:extLst>
              <a:ext uri="{FF2B5EF4-FFF2-40B4-BE49-F238E27FC236}">
                <a16:creationId xmlns:a16="http://schemas.microsoft.com/office/drawing/2014/main" id="{4C21C1FC-8B29-4EA1-8EC8-DC295808CD67}"/>
              </a:ext>
            </a:extLst>
          </p:cNvPr>
          <p:cNvGrpSpPr>
            <a:grpSpLocks noChangeAspect="1"/>
          </p:cNvGrpSpPr>
          <p:nvPr/>
        </p:nvGrpSpPr>
        <p:grpSpPr bwMode="auto">
          <a:xfrm>
            <a:off x="5265117" y="3144996"/>
            <a:ext cx="1093669" cy="1114584"/>
            <a:chOff x="3656286" y="4067031"/>
            <a:chExt cx="2235200" cy="2235200"/>
          </a:xfrm>
        </p:grpSpPr>
        <p:sp>
          <p:nvSpPr>
            <p:cNvPr id="31" name="Form 30">
              <a:extLst>
                <a:ext uri="{FF2B5EF4-FFF2-40B4-BE49-F238E27FC236}">
                  <a16:creationId xmlns:a16="http://schemas.microsoft.com/office/drawing/2014/main" id="{6BA65F72-BA97-4510-A8DC-CC9A5B56168E}"/>
                </a:ext>
              </a:extLst>
            </p:cNvPr>
            <p:cNvSpPr/>
            <p:nvPr/>
          </p:nvSpPr>
          <p:spPr>
            <a:xfrm>
              <a:off x="3656286" y="4067031"/>
              <a:ext cx="2235200" cy="2235200"/>
            </a:xfrm>
            <a:prstGeom prst="gear9">
              <a:avLst/>
            </a:prstGeom>
            <a:solidFill>
              <a:srgbClr val="C21C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FFFFFF"/>
                </a:solidFill>
              </a:endParaRPr>
            </a:p>
          </p:txBody>
        </p:sp>
        <p:sp>
          <p:nvSpPr>
            <p:cNvPr id="32" name="Form 31">
              <a:extLst>
                <a:ext uri="{FF2B5EF4-FFF2-40B4-BE49-F238E27FC236}">
                  <a16:creationId xmlns:a16="http://schemas.microsoft.com/office/drawing/2014/main" id="{A5F118AF-4C60-4EC6-B633-E3CBE1164631}"/>
                </a:ext>
              </a:extLst>
            </p:cNvPr>
            <p:cNvSpPr/>
            <p:nvPr/>
          </p:nvSpPr>
          <p:spPr>
            <a:xfrm>
              <a:off x="3935686" y="4371831"/>
              <a:ext cx="1676400" cy="1625600"/>
            </a:xfrm>
            <a:prstGeom prst="gear9">
              <a:avLst/>
            </a:prstGeom>
            <a:solidFill>
              <a:srgbClr val="CC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de-DE" dirty="0">
                <a:solidFill>
                  <a:srgbClr val="000000"/>
                </a:solidFill>
              </a:endParaRPr>
            </a:p>
          </p:txBody>
        </p:sp>
        <p:sp>
          <p:nvSpPr>
            <p:cNvPr id="33" name="Ellipse 32">
              <a:extLst>
                <a:ext uri="{FF2B5EF4-FFF2-40B4-BE49-F238E27FC236}">
                  <a16:creationId xmlns:a16="http://schemas.microsoft.com/office/drawing/2014/main" id="{5DE85B43-147B-4DBC-9DDB-AB10C9D9E2AA}"/>
                </a:ext>
              </a:extLst>
            </p:cNvPr>
            <p:cNvSpPr/>
            <p:nvPr/>
          </p:nvSpPr>
          <p:spPr>
            <a:xfrm>
              <a:off x="4427811" y="4836968"/>
              <a:ext cx="692150" cy="695325"/>
            </a:xfrm>
            <a:prstGeom prst="ellipse">
              <a:avLst/>
            </a:prstGeom>
            <a:ln>
              <a:solidFill>
                <a:srgbClr val="C21C1D"/>
              </a:solidFill>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de-DE" sz="1300" dirty="0"/>
            </a:p>
          </p:txBody>
        </p:sp>
      </p:grpSp>
    </p:spTree>
    <p:extLst>
      <p:ext uri="{BB962C8B-B14F-4D97-AF65-F5344CB8AC3E}">
        <p14:creationId xmlns:p14="http://schemas.microsoft.com/office/powerpoint/2010/main" val="3502623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D107E38-6E0C-470B-AF57-5BC7068ACD13}"/>
              </a:ext>
            </a:extLst>
          </p:cNvPr>
          <p:cNvSpPr/>
          <p:nvPr/>
        </p:nvSpPr>
        <p:spPr>
          <a:xfrm>
            <a:off x="3153747" y="1259634"/>
            <a:ext cx="2379305"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Cleaning (Lee )</a:t>
            </a:r>
          </a:p>
        </p:txBody>
      </p:sp>
    </p:spTree>
    <p:extLst>
      <p:ext uri="{BB962C8B-B14F-4D97-AF65-F5344CB8AC3E}">
        <p14:creationId xmlns:p14="http://schemas.microsoft.com/office/powerpoint/2010/main" val="898892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D107E38-6E0C-470B-AF57-5BC7068ACD13}"/>
              </a:ext>
            </a:extLst>
          </p:cNvPr>
          <p:cNvSpPr/>
          <p:nvPr/>
        </p:nvSpPr>
        <p:spPr>
          <a:xfrm>
            <a:off x="3153747" y="1259634"/>
            <a:ext cx="2705877"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Model &amp; assumptions (Federico )</a:t>
            </a:r>
          </a:p>
        </p:txBody>
      </p:sp>
    </p:spTree>
    <p:extLst>
      <p:ext uri="{BB962C8B-B14F-4D97-AF65-F5344CB8AC3E}">
        <p14:creationId xmlns:p14="http://schemas.microsoft.com/office/powerpoint/2010/main" val="4167412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B09E3917-3D86-42FA-977E-6CF5A6B665F5}"/>
              </a:ext>
            </a:extLst>
          </p:cNvPr>
          <p:cNvSpPr txBox="1">
            <a:spLocks/>
          </p:cNvSpPr>
          <p:nvPr/>
        </p:nvSpPr>
        <p:spPr>
          <a:xfrm>
            <a:off x="710229" y="4308150"/>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How do we calculate the polarity by id?</a:t>
            </a:r>
            <a:endParaRPr lang="it-IT" sz="1600" b="1" dirty="0">
              <a:solidFill>
                <a:srgbClr val="752127"/>
              </a:solidFill>
            </a:endParaRPr>
          </a:p>
        </p:txBody>
      </p:sp>
      <p:sp>
        <p:nvSpPr>
          <p:cNvPr id="3" name="Title 4">
            <a:extLst>
              <a:ext uri="{FF2B5EF4-FFF2-40B4-BE49-F238E27FC236}">
                <a16:creationId xmlns:a16="http://schemas.microsoft.com/office/drawing/2014/main" id="{B09E3917-3D86-42FA-977E-6CF5A6B665F5}"/>
              </a:ext>
            </a:extLst>
          </p:cNvPr>
          <p:cNvSpPr txBox="1">
            <a:spLocks/>
          </p:cNvSpPr>
          <p:nvPr/>
        </p:nvSpPr>
        <p:spPr>
          <a:xfrm>
            <a:off x="710229" y="4607885"/>
            <a:ext cx="7156586" cy="1138160"/>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342900" indent="-342900">
              <a:lnSpc>
                <a:spcPct val="150000"/>
              </a:lnSpc>
              <a:buAutoNum type="arabicPeriod"/>
            </a:pPr>
            <a:r>
              <a:rPr lang="en-US" sz="1600" dirty="0">
                <a:solidFill>
                  <a:srgbClr val="752127"/>
                </a:solidFill>
              </a:rPr>
              <a:t>Calculate sentiment for each tweet using </a:t>
            </a:r>
            <a:r>
              <a:rPr lang="en-US" sz="1600" dirty="0" err="1">
                <a:solidFill>
                  <a:srgbClr val="752127"/>
                </a:solidFill>
              </a:rPr>
              <a:t>TextBlob</a:t>
            </a:r>
            <a:endParaRPr lang="en-US" sz="1600" dirty="0">
              <a:solidFill>
                <a:srgbClr val="752127"/>
              </a:solidFill>
            </a:endParaRPr>
          </a:p>
          <a:p>
            <a:pPr marL="342900" indent="-342900">
              <a:lnSpc>
                <a:spcPct val="150000"/>
              </a:lnSpc>
              <a:buAutoNum type="arabicPeriod"/>
            </a:pPr>
            <a:r>
              <a:rPr lang="en-US" sz="1600" dirty="0">
                <a:solidFill>
                  <a:srgbClr val="752127"/>
                </a:solidFill>
              </a:rPr>
              <a:t>Mean of polarity by id (ID_SALES) </a:t>
            </a:r>
          </a:p>
          <a:p>
            <a:pPr marL="342900" indent="-342900">
              <a:lnSpc>
                <a:spcPct val="150000"/>
              </a:lnSpc>
              <a:buAutoNum type="arabicPeriod"/>
            </a:pPr>
            <a:r>
              <a:rPr lang="en-US" sz="1600" dirty="0">
                <a:solidFill>
                  <a:srgbClr val="752127"/>
                </a:solidFill>
              </a:rPr>
              <a:t>Fill null values with the mean sentiment </a:t>
            </a:r>
          </a:p>
          <a:p>
            <a:pPr marL="342900" indent="-342900">
              <a:buAutoNum type="arabicPeriod"/>
            </a:pPr>
            <a:endParaRPr lang="it-IT" sz="1600" dirty="0">
              <a:solidFill>
                <a:srgbClr val="752127"/>
              </a:solidFill>
            </a:endParaRPr>
          </a:p>
        </p:txBody>
      </p:sp>
      <p:sp>
        <p:nvSpPr>
          <p:cNvPr id="4" name="Title 4">
            <a:extLst>
              <a:ext uri="{FF2B5EF4-FFF2-40B4-BE49-F238E27FC236}">
                <a16:creationId xmlns:a16="http://schemas.microsoft.com/office/drawing/2014/main" id="{B09E3917-3D86-42FA-977E-6CF5A6B665F5}"/>
              </a:ext>
            </a:extLst>
          </p:cNvPr>
          <p:cNvSpPr txBox="1">
            <a:spLocks/>
          </p:cNvSpPr>
          <p:nvPr/>
        </p:nvSpPr>
        <p:spPr>
          <a:xfrm>
            <a:off x="710229" y="532596"/>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2000" b="1" dirty="0">
                <a:solidFill>
                  <a:srgbClr val="752127"/>
                </a:solidFill>
              </a:rPr>
              <a:t>Polarity</a:t>
            </a:r>
            <a:endParaRPr lang="it-IT" sz="2000" b="1" dirty="0">
              <a:solidFill>
                <a:srgbClr val="752127"/>
              </a:solidFill>
            </a:endParaRPr>
          </a:p>
        </p:txBody>
      </p:sp>
      <p:sp>
        <p:nvSpPr>
          <p:cNvPr id="5" name="Title 4">
            <a:extLst>
              <a:ext uri="{FF2B5EF4-FFF2-40B4-BE49-F238E27FC236}">
                <a16:creationId xmlns:a16="http://schemas.microsoft.com/office/drawing/2014/main" id="{B09E3917-3D86-42FA-977E-6CF5A6B665F5}"/>
              </a:ext>
            </a:extLst>
          </p:cNvPr>
          <p:cNvSpPr txBox="1">
            <a:spLocks/>
          </p:cNvSpPr>
          <p:nvPr/>
        </p:nvSpPr>
        <p:spPr>
          <a:xfrm>
            <a:off x="710229" y="1043128"/>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dirty="0">
                <a:solidFill>
                  <a:srgbClr val="752127"/>
                </a:solidFill>
              </a:rPr>
              <a:t>It is the measure of the process of analyzing the sentiment of each tweet into negative, neutral or positive.  This measure ranges from -1 to 1</a:t>
            </a:r>
          </a:p>
        </p:txBody>
      </p:sp>
      <p:sp>
        <p:nvSpPr>
          <p:cNvPr id="7" name="Title 4">
            <a:extLst>
              <a:ext uri="{FF2B5EF4-FFF2-40B4-BE49-F238E27FC236}">
                <a16:creationId xmlns:a16="http://schemas.microsoft.com/office/drawing/2014/main" id="{B09E3917-3D86-42FA-977E-6CF5A6B665F5}"/>
              </a:ext>
            </a:extLst>
          </p:cNvPr>
          <p:cNvSpPr txBox="1">
            <a:spLocks/>
          </p:cNvSpPr>
          <p:nvPr/>
        </p:nvSpPr>
        <p:spPr>
          <a:xfrm>
            <a:off x="710229" y="2287953"/>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en-US" sz="1600" b="1" dirty="0">
                <a:solidFill>
                  <a:srgbClr val="752127"/>
                </a:solidFill>
              </a:rPr>
              <a:t>Text cleaning</a:t>
            </a:r>
            <a:endParaRPr lang="it-IT" sz="1600" b="1" dirty="0">
              <a:solidFill>
                <a:srgbClr val="752127"/>
              </a:solidFill>
            </a:endParaRPr>
          </a:p>
        </p:txBody>
      </p:sp>
      <p:sp>
        <p:nvSpPr>
          <p:cNvPr id="8" name="Title 4">
            <a:extLst>
              <a:ext uri="{FF2B5EF4-FFF2-40B4-BE49-F238E27FC236}">
                <a16:creationId xmlns:a16="http://schemas.microsoft.com/office/drawing/2014/main" id="{B09E3917-3D86-42FA-977E-6CF5A6B665F5}"/>
              </a:ext>
            </a:extLst>
          </p:cNvPr>
          <p:cNvSpPr txBox="1">
            <a:spLocks/>
          </p:cNvSpPr>
          <p:nvPr/>
        </p:nvSpPr>
        <p:spPr>
          <a:xfrm>
            <a:off x="710229" y="2695039"/>
            <a:ext cx="7156586" cy="1034028"/>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buFont typeface="Wingdings" panose="05000000000000000000" pitchFamily="2" charset="2"/>
              <a:buChar char="ü"/>
            </a:pPr>
            <a:r>
              <a:rPr lang="en-US" sz="1600" dirty="0">
                <a:solidFill>
                  <a:srgbClr val="752127"/>
                </a:solidFill>
              </a:rPr>
              <a:t>Remove mentions</a:t>
            </a:r>
          </a:p>
          <a:p>
            <a:pPr marL="285750" indent="-285750">
              <a:buFont typeface="Wingdings" panose="05000000000000000000" pitchFamily="2" charset="2"/>
              <a:buChar char="ü"/>
            </a:pPr>
            <a:r>
              <a:rPr lang="en-US" sz="1600" dirty="0">
                <a:solidFill>
                  <a:srgbClr val="752127"/>
                </a:solidFill>
              </a:rPr>
              <a:t>Remove hashtag</a:t>
            </a:r>
          </a:p>
          <a:p>
            <a:pPr marL="285750" indent="-285750">
              <a:buFont typeface="Wingdings" panose="05000000000000000000" pitchFamily="2" charset="2"/>
              <a:buChar char="ü"/>
            </a:pPr>
            <a:r>
              <a:rPr lang="en-US" sz="1600" dirty="0">
                <a:solidFill>
                  <a:srgbClr val="752127"/>
                </a:solidFill>
              </a:rPr>
              <a:t>Remove retweet</a:t>
            </a:r>
          </a:p>
          <a:p>
            <a:pPr marL="285750" indent="-285750">
              <a:buFont typeface="Wingdings" panose="05000000000000000000" pitchFamily="2" charset="2"/>
              <a:buChar char="ü"/>
            </a:pPr>
            <a:r>
              <a:rPr lang="en-US" sz="1600" dirty="0">
                <a:solidFill>
                  <a:srgbClr val="752127"/>
                </a:solidFill>
              </a:rPr>
              <a:t>Remove hyperlink</a:t>
            </a:r>
          </a:p>
          <a:p>
            <a:pPr marL="285750" indent="-285750">
              <a:buFont typeface="Wingdings" panose="05000000000000000000" pitchFamily="2" charset="2"/>
              <a:buChar char="ü"/>
            </a:pPr>
            <a:r>
              <a:rPr lang="en-US" sz="1600" dirty="0">
                <a:solidFill>
                  <a:srgbClr val="752127"/>
                </a:solidFill>
              </a:rPr>
              <a:t>Remove all distinct to words (ex: emoticons)</a:t>
            </a:r>
          </a:p>
        </p:txBody>
      </p:sp>
    </p:spTree>
    <p:extLst>
      <p:ext uri="{BB962C8B-B14F-4D97-AF65-F5344CB8AC3E}">
        <p14:creationId xmlns:p14="http://schemas.microsoft.com/office/powerpoint/2010/main" val="3266783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 vs Retention</a:t>
            </a:r>
          </a:p>
        </p:txBody>
      </p:sp>
      <p:pic>
        <p:nvPicPr>
          <p:cNvPr id="4" name="Imagen 3"/>
          <p:cNvPicPr>
            <a:picLocks noChangeAspect="1"/>
          </p:cNvPicPr>
          <p:nvPr/>
        </p:nvPicPr>
        <p:blipFill>
          <a:blip r:embed="rId3"/>
          <a:stretch>
            <a:fillRect/>
          </a:stretch>
        </p:blipFill>
        <p:spPr>
          <a:xfrm>
            <a:off x="408164" y="1112661"/>
            <a:ext cx="6204372" cy="3786187"/>
          </a:xfrm>
          <a:prstGeom prst="rect">
            <a:avLst/>
          </a:prstGeom>
        </p:spPr>
      </p:pic>
      <p:pic>
        <p:nvPicPr>
          <p:cNvPr id="2" name="Imagen 1"/>
          <p:cNvPicPr>
            <a:picLocks noChangeAspect="1"/>
          </p:cNvPicPr>
          <p:nvPr/>
        </p:nvPicPr>
        <p:blipFill>
          <a:blip r:embed="rId4"/>
          <a:stretch>
            <a:fillRect/>
          </a:stretch>
        </p:blipFill>
        <p:spPr>
          <a:xfrm>
            <a:off x="5824526" y="2097535"/>
            <a:ext cx="5644974" cy="1582643"/>
          </a:xfrm>
          <a:prstGeom prst="rect">
            <a:avLst/>
          </a:prstGeom>
        </p:spPr>
      </p:pic>
      <p:sp>
        <p:nvSpPr>
          <p:cNvPr id="5" name="Flecha abajo 4"/>
          <p:cNvSpPr/>
          <p:nvPr/>
        </p:nvSpPr>
        <p:spPr>
          <a:xfrm>
            <a:off x="3363099" y="1043338"/>
            <a:ext cx="382566" cy="55809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117258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a:extLst>
              <a:ext uri="{FF2B5EF4-FFF2-40B4-BE49-F238E27FC236}">
                <a16:creationId xmlns:a16="http://schemas.microsoft.com/office/drawing/2014/main" id="{56A888AD-220E-4C11-9395-7651DF666760}"/>
              </a:ext>
            </a:extLst>
          </p:cNvPr>
          <p:cNvSpPr txBox="1">
            <a:spLocks/>
          </p:cNvSpPr>
          <p:nvPr/>
        </p:nvSpPr>
        <p:spPr>
          <a:xfrm>
            <a:off x="5824526" y="6538653"/>
            <a:ext cx="421315" cy="22602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200" b="0" kern="1200">
                <a:solidFill>
                  <a:srgbClr val="75202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465A074-71B0-1C47-A455-7677837C124E}" type="slidenum">
              <a:rPr kumimoji="0" lang="it-IT" sz="1200" b="0" i="0" u="none" strike="noStrike" kern="1200" cap="none" spc="0" normalizeH="0" baseline="0" noProof="0" smtClean="0">
                <a:ln>
                  <a:noFill/>
                </a:ln>
                <a:solidFill>
                  <a:srgbClr val="BD2027"/>
                </a:solidFill>
                <a:effectLst/>
                <a:uLnTx/>
                <a:uFillTx/>
                <a:latin typeface="Arial Regular"/>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srgbClr val="BD2027"/>
              </a:solidFill>
              <a:effectLst/>
              <a:uLnTx/>
              <a:uFillTx/>
              <a:latin typeface="Arial Regular"/>
              <a:ea typeface="+mn-ea"/>
              <a:cs typeface="Arial" panose="020B0604020202020204" pitchFamily="34" charset="0"/>
            </a:endParaRPr>
          </a:p>
        </p:txBody>
      </p:sp>
      <p:sp>
        <p:nvSpPr>
          <p:cNvPr id="24" name="Title 4">
            <a:extLst>
              <a:ext uri="{FF2B5EF4-FFF2-40B4-BE49-F238E27FC236}">
                <a16:creationId xmlns:a16="http://schemas.microsoft.com/office/drawing/2014/main" id="{B09E3917-3D86-42FA-977E-6CF5A6B665F5}"/>
              </a:ext>
            </a:extLst>
          </p:cNvPr>
          <p:cNvSpPr txBox="1">
            <a:spLocks/>
          </p:cNvSpPr>
          <p:nvPr/>
        </p:nvSpPr>
        <p:spPr>
          <a:xfrm>
            <a:off x="710229" y="459218"/>
            <a:ext cx="7156586"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2000" b="1" dirty="0">
                <a:solidFill>
                  <a:srgbClr val="752127"/>
                </a:solidFill>
              </a:rPr>
              <a:t>Polarity</a:t>
            </a:r>
          </a:p>
        </p:txBody>
      </p:sp>
      <p:pic>
        <p:nvPicPr>
          <p:cNvPr id="3" name="Imagen 2"/>
          <p:cNvPicPr>
            <a:picLocks noChangeAspect="1"/>
          </p:cNvPicPr>
          <p:nvPr/>
        </p:nvPicPr>
        <p:blipFill>
          <a:blip r:embed="rId3"/>
          <a:stretch>
            <a:fillRect/>
          </a:stretch>
        </p:blipFill>
        <p:spPr>
          <a:xfrm>
            <a:off x="710229" y="1956681"/>
            <a:ext cx="2971800" cy="1838325"/>
          </a:xfrm>
          <a:prstGeom prst="rect">
            <a:avLst/>
          </a:prstGeom>
        </p:spPr>
      </p:pic>
      <p:sp>
        <p:nvSpPr>
          <p:cNvPr id="7" name="Title 4">
            <a:extLst>
              <a:ext uri="{FF2B5EF4-FFF2-40B4-BE49-F238E27FC236}">
                <a16:creationId xmlns:a16="http://schemas.microsoft.com/office/drawing/2014/main" id="{B09E3917-3D86-42FA-977E-6CF5A6B665F5}"/>
              </a:ext>
            </a:extLst>
          </p:cNvPr>
          <p:cNvSpPr txBox="1">
            <a:spLocks/>
          </p:cNvSpPr>
          <p:nvPr/>
        </p:nvSpPr>
        <p:spPr>
          <a:xfrm>
            <a:off x="710229" y="1503441"/>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Air</a:t>
            </a:r>
          </a:p>
        </p:txBody>
      </p:sp>
      <p:sp>
        <p:nvSpPr>
          <p:cNvPr id="8" name="Title 4">
            <a:extLst>
              <a:ext uri="{FF2B5EF4-FFF2-40B4-BE49-F238E27FC236}">
                <a16:creationId xmlns:a16="http://schemas.microsoft.com/office/drawing/2014/main" id="{B09E3917-3D86-42FA-977E-6CF5A6B665F5}"/>
              </a:ext>
            </a:extLst>
          </p:cNvPr>
          <p:cNvSpPr txBox="1">
            <a:spLocks/>
          </p:cNvSpPr>
          <p:nvPr/>
        </p:nvSpPr>
        <p:spPr>
          <a:xfrm>
            <a:off x="4373286" y="1503440"/>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Train</a:t>
            </a:r>
          </a:p>
        </p:txBody>
      </p:sp>
      <p:pic>
        <p:nvPicPr>
          <p:cNvPr id="5" name="Imagen 4"/>
          <p:cNvPicPr>
            <a:picLocks noChangeAspect="1"/>
          </p:cNvPicPr>
          <p:nvPr/>
        </p:nvPicPr>
        <p:blipFill>
          <a:blip r:embed="rId4"/>
          <a:stretch>
            <a:fillRect/>
          </a:stretch>
        </p:blipFill>
        <p:spPr>
          <a:xfrm>
            <a:off x="4373286" y="1956681"/>
            <a:ext cx="2924175" cy="1771650"/>
          </a:xfrm>
          <a:prstGeom prst="rect">
            <a:avLst/>
          </a:prstGeom>
        </p:spPr>
      </p:pic>
      <p:sp>
        <p:nvSpPr>
          <p:cNvPr id="10" name="Title 4">
            <a:extLst>
              <a:ext uri="{FF2B5EF4-FFF2-40B4-BE49-F238E27FC236}">
                <a16:creationId xmlns:a16="http://schemas.microsoft.com/office/drawing/2014/main" id="{B09E3917-3D86-42FA-977E-6CF5A6B665F5}"/>
              </a:ext>
            </a:extLst>
          </p:cNvPr>
          <p:cNvSpPr txBox="1">
            <a:spLocks/>
          </p:cNvSpPr>
          <p:nvPr/>
        </p:nvSpPr>
        <p:spPr>
          <a:xfrm>
            <a:off x="8042078" y="1503440"/>
            <a:ext cx="1852349" cy="299735"/>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r>
              <a:rPr lang="it-IT" sz="1600" b="1" dirty="0">
                <a:solidFill>
                  <a:srgbClr val="752127"/>
                </a:solidFill>
              </a:rPr>
              <a:t>Travel mode: Bus</a:t>
            </a:r>
          </a:p>
        </p:txBody>
      </p:sp>
      <p:pic>
        <p:nvPicPr>
          <p:cNvPr id="6" name="Imagen 5"/>
          <p:cNvPicPr>
            <a:picLocks noChangeAspect="1"/>
          </p:cNvPicPr>
          <p:nvPr/>
        </p:nvPicPr>
        <p:blipFill>
          <a:blip r:embed="rId5"/>
          <a:stretch>
            <a:fillRect/>
          </a:stretch>
        </p:blipFill>
        <p:spPr>
          <a:xfrm>
            <a:off x="7988719" y="1956681"/>
            <a:ext cx="2924175" cy="1771650"/>
          </a:xfrm>
          <a:prstGeom prst="rect">
            <a:avLst/>
          </a:prstGeom>
        </p:spPr>
      </p:pic>
      <p:sp>
        <p:nvSpPr>
          <p:cNvPr id="12" name="Title 4">
            <a:extLst>
              <a:ext uri="{FF2B5EF4-FFF2-40B4-BE49-F238E27FC236}">
                <a16:creationId xmlns:a16="http://schemas.microsoft.com/office/drawing/2014/main" id="{B09E3917-3D86-42FA-977E-6CF5A6B665F5}"/>
              </a:ext>
            </a:extLst>
          </p:cNvPr>
          <p:cNvSpPr txBox="1">
            <a:spLocks/>
          </p:cNvSpPr>
          <p:nvPr/>
        </p:nvSpPr>
        <p:spPr>
          <a:xfrm>
            <a:off x="710229" y="4404122"/>
            <a:ext cx="2518394" cy="1177223"/>
          </a:xfrm>
          <a:prstGeom prst="rect">
            <a:avLst/>
          </a:prstGeom>
        </p:spPr>
        <p:txBody>
          <a:bodyPr vert="horz" lIns="0" tIns="0" rIns="0" bIns="0" rtlCol="0" anchor="t" anchorCtr="0">
            <a:noAutofit/>
          </a:bodyPr>
          <a:lstStyle>
            <a:lvl1pPr algn="l" defTabSz="457200" rtl="0" eaLnBrk="1" latinLnBrk="0" hangingPunct="1">
              <a:lnSpc>
                <a:spcPts val="2031"/>
              </a:lnSpc>
              <a:spcBef>
                <a:spcPct val="0"/>
              </a:spcBef>
              <a:buNone/>
              <a:defRPr sz="1846" b="0" i="0" kern="1200" baseline="0">
                <a:solidFill>
                  <a:schemeClr val="tx2"/>
                </a:solidFill>
                <a:latin typeface="Arial"/>
                <a:ea typeface="+mj-ea"/>
                <a:cs typeface="+mj-cs"/>
              </a:defRPr>
            </a:lvl1pPr>
          </a:lstStyle>
          <a:p>
            <a:pPr marL="285750" indent="-285750">
              <a:lnSpc>
                <a:spcPct val="200000"/>
              </a:lnSpc>
              <a:buFont typeface="Arial" panose="020B0604020202020204" pitchFamily="34" charset="0"/>
              <a:buChar char="•"/>
            </a:pPr>
            <a:r>
              <a:rPr lang="it-IT" sz="1600" b="1" dirty="0">
                <a:solidFill>
                  <a:srgbClr val="752127"/>
                </a:solidFill>
              </a:rPr>
              <a:t>Late flights </a:t>
            </a:r>
          </a:p>
          <a:p>
            <a:pPr marL="285750" indent="-285750">
              <a:lnSpc>
                <a:spcPct val="200000"/>
              </a:lnSpc>
              <a:buFont typeface="Arial" panose="020B0604020202020204" pitchFamily="34" charset="0"/>
              <a:buChar char="•"/>
            </a:pPr>
            <a:r>
              <a:rPr lang="it-IT" sz="1600" b="1" dirty="0">
                <a:solidFill>
                  <a:srgbClr val="752127"/>
                </a:solidFill>
              </a:rPr>
              <a:t>Customer service</a:t>
            </a:r>
          </a:p>
          <a:p>
            <a:pPr marL="285750" indent="-285750">
              <a:lnSpc>
                <a:spcPct val="200000"/>
              </a:lnSpc>
              <a:buFont typeface="Arial" panose="020B0604020202020204" pitchFamily="34" charset="0"/>
              <a:buChar char="•"/>
            </a:pPr>
            <a:r>
              <a:rPr lang="it-IT" sz="1600" b="1" dirty="0">
                <a:solidFill>
                  <a:srgbClr val="752127"/>
                </a:solidFill>
              </a:rPr>
              <a:t>Problems with bags </a:t>
            </a:r>
          </a:p>
        </p:txBody>
      </p:sp>
      <p:sp>
        <p:nvSpPr>
          <p:cNvPr id="11" name="Rectangle: Rounded Corners 10">
            <a:extLst>
              <a:ext uri="{FF2B5EF4-FFF2-40B4-BE49-F238E27FC236}">
                <a16:creationId xmlns:a16="http://schemas.microsoft.com/office/drawing/2014/main" id="{095A96BA-6885-46C5-8BD2-94E222067E5B}"/>
              </a:ext>
            </a:extLst>
          </p:cNvPr>
          <p:cNvSpPr/>
          <p:nvPr/>
        </p:nvSpPr>
        <p:spPr>
          <a:xfrm>
            <a:off x="9349274" y="237034"/>
            <a:ext cx="2379305" cy="7931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revise </a:t>
            </a:r>
            <a:r>
              <a:rPr lang="en-US" dirty="0" err="1"/>
              <a:t>wordcloud</a:t>
            </a:r>
            <a:r>
              <a:rPr lang="en-US" dirty="0"/>
              <a:t>?</a:t>
            </a:r>
          </a:p>
        </p:txBody>
      </p:sp>
    </p:spTree>
    <p:extLst>
      <p:ext uri="{BB962C8B-B14F-4D97-AF65-F5344CB8AC3E}">
        <p14:creationId xmlns:p14="http://schemas.microsoft.com/office/powerpoint/2010/main" val="1068804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fWFHrJRN0mK6ABrSujG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14XkA5rUOvFltOcEMO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ZBIHH0.E6M2YoPi.6fIQ"/>
</p:tagLst>
</file>

<file path=ppt/theme/theme1.xml><?xml version="1.0" encoding="utf-8"?>
<a:theme xmlns:a="http://schemas.openxmlformats.org/drawingml/2006/main" name="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2.xml><?xml version="1.0" encoding="utf-8"?>
<a:theme xmlns:a="http://schemas.openxmlformats.org/drawingml/2006/main" name="1_Generali Tema V3">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i Tema V3" id="{A4F0F597-33C1-45F3-AC0B-0A3B2C2D9FDB}" vid="{05AB92D8-A146-446A-A761-1D13BC42B7D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51F8EC6EEE6674499A629B6657B9AC7" ma:contentTypeVersion="13" ma:contentTypeDescription="Create a new document." ma:contentTypeScope="" ma:versionID="4fd14c1f3ce20c93ccda3aea6d2a2bce">
  <xsd:schema xmlns:xsd="http://www.w3.org/2001/XMLSchema" xmlns:xs="http://www.w3.org/2001/XMLSchema" xmlns:p="http://schemas.microsoft.com/office/2006/metadata/properties" xmlns:ns3="d8e8dd54-27e0-406e-b96e-90470c90af98" xmlns:ns4="c038ce7e-4169-4d49-9324-5447ee9a6370" targetNamespace="http://schemas.microsoft.com/office/2006/metadata/properties" ma:root="true" ma:fieldsID="13fc7dfcf8502241d6c0e1b0981197bf" ns3:_="" ns4:_="">
    <xsd:import namespace="d8e8dd54-27e0-406e-b96e-90470c90af98"/>
    <xsd:import namespace="c038ce7e-4169-4d49-9324-5447ee9a63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Location"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e8dd54-27e0-406e-b96e-90470c90af9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38ce7e-4169-4d49-9324-5447ee9a63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5293E7-DCD4-47A6-B6C8-7F7024F7534B}">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c038ce7e-4169-4d49-9324-5447ee9a6370"/>
    <ds:schemaRef ds:uri="d8e8dd54-27e0-406e-b96e-90470c90af98"/>
    <ds:schemaRef ds:uri="http://www.w3.org/XML/1998/namespace"/>
  </ds:schemaRefs>
</ds:datastoreItem>
</file>

<file path=customXml/itemProps2.xml><?xml version="1.0" encoding="utf-8"?>
<ds:datastoreItem xmlns:ds="http://schemas.openxmlformats.org/officeDocument/2006/customXml" ds:itemID="{FEAC6048-6440-4A00-9D61-FE9C9904EA42}">
  <ds:schemaRefs>
    <ds:schemaRef ds:uri="http://schemas.microsoft.com/sharepoint/v3/contenttype/forms"/>
  </ds:schemaRefs>
</ds:datastoreItem>
</file>

<file path=customXml/itemProps3.xml><?xml version="1.0" encoding="utf-8"?>
<ds:datastoreItem xmlns:ds="http://schemas.openxmlformats.org/officeDocument/2006/customXml" ds:itemID="{323BCEC5-E438-4E92-A620-A1A0567B60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e8dd54-27e0-406e-b96e-90470c90af98"/>
    <ds:schemaRef ds:uri="c038ce7e-4169-4d49-9324-5447ee9a63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enerali Tema_v2</Template>
  <TotalTime>10682</TotalTime>
  <Words>721</Words>
  <Application>Microsoft Office PowerPoint</Application>
  <PresentationFormat>Widescreen</PresentationFormat>
  <Paragraphs>126</Paragraphs>
  <Slides>15</Slides>
  <Notes>8</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5</vt:i4>
      </vt:variant>
    </vt:vector>
  </HeadingPairs>
  <TitlesOfParts>
    <vt:vector size="22" baseType="lpstr">
      <vt:lpstr>Arial</vt:lpstr>
      <vt:lpstr>Arial Regular</vt:lpstr>
      <vt:lpstr>Calibri</vt:lpstr>
      <vt:lpstr>Calibri Light</vt:lpstr>
      <vt:lpstr>Wingdings</vt:lpstr>
      <vt:lpstr>Generali Tema V3</vt:lpstr>
      <vt:lpstr>1_Generali Tema V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sentini, Alessia</dc:creator>
  <cp:lastModifiedBy>Hernalsteens Floriane</cp:lastModifiedBy>
  <cp:revision>29</cp:revision>
  <dcterms:created xsi:type="dcterms:W3CDTF">2020-01-21T10:15:53Z</dcterms:created>
  <dcterms:modified xsi:type="dcterms:W3CDTF">2021-04-09T13:2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1F8EC6EEE6674499A629B6657B9AC7</vt:lpwstr>
  </property>
</Properties>
</file>